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33" r:id="rId4"/>
  </p:sldMasterIdLst>
  <p:notesMasterIdLst>
    <p:notesMasterId r:id="rId16"/>
  </p:notesMasterIdLst>
  <p:handoutMasterIdLst>
    <p:handoutMasterId r:id="rId17"/>
  </p:handoutMasterIdLst>
  <p:sldIdLst>
    <p:sldId id="2147472857" r:id="rId5"/>
    <p:sldId id="260" r:id="rId6"/>
    <p:sldId id="2147472863" r:id="rId7"/>
    <p:sldId id="256" r:id="rId8"/>
    <p:sldId id="2147483637" r:id="rId9"/>
    <p:sldId id="2147483639" r:id="rId10"/>
    <p:sldId id="2147483640" r:id="rId11"/>
    <p:sldId id="2147483642" r:id="rId12"/>
    <p:sldId id="2147472862" r:id="rId13"/>
    <p:sldId id="2147483647" r:id="rId14"/>
    <p:sldId id="2147472855" r:id="rId15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4DC2FDE-C71D-9422-1A56-63B0499BE7B4}" name="LeBouef, David" initials="LD" userId="S::david.lebouef@quintiles.com::2263cf62-1491-4aba-8ffd-841d72c8fe6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4F4F4"/>
    <a:srgbClr val="DA291C"/>
    <a:srgbClr val="959CA0"/>
    <a:srgbClr val="FE8A12"/>
    <a:srgbClr val="F4C65A"/>
    <a:srgbClr val="FFE2C4"/>
    <a:srgbClr val="FEC488"/>
    <a:srgbClr val="7FD1EF"/>
    <a:srgbClr val="A1D7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82C0B7-1715-436C-9AEE-BE5831BE8937}" v="1" dt="2025-11-10T14:04:15.0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1138" y="2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mboj, Sandeep" userId="b1434cc5-997d-4115-b984-843629191137" providerId="ADAL" clId="{F582C0B7-1715-436C-9AEE-BE5831BE8937}"/>
    <pc:docChg chg="addSld delSld modSld">
      <pc:chgData name="Kamboj, Sandeep" userId="b1434cc5-997d-4115-b984-843629191137" providerId="ADAL" clId="{F582C0B7-1715-436C-9AEE-BE5831BE8937}" dt="2025-11-10T14:04:15.013" v="19"/>
      <pc:docMkLst>
        <pc:docMk/>
      </pc:docMkLst>
      <pc:sldChg chg="add">
        <pc:chgData name="Kamboj, Sandeep" userId="b1434cc5-997d-4115-b984-843629191137" providerId="ADAL" clId="{F582C0B7-1715-436C-9AEE-BE5831BE8937}" dt="2025-11-10T14:04:15.013" v="19"/>
        <pc:sldMkLst>
          <pc:docMk/>
          <pc:sldMk cId="1989539382" sldId="256"/>
        </pc:sldMkLst>
      </pc:sldChg>
      <pc:sldChg chg="modSp mod">
        <pc:chgData name="Kamboj, Sandeep" userId="b1434cc5-997d-4115-b984-843629191137" providerId="ADAL" clId="{F582C0B7-1715-436C-9AEE-BE5831BE8937}" dt="2025-11-05T11:29:42.350" v="1" actId="1076"/>
        <pc:sldMkLst>
          <pc:docMk/>
          <pc:sldMk cId="492020610" sldId="261"/>
        </pc:sldMkLst>
        <pc:picChg chg="mod">
          <ac:chgData name="Kamboj, Sandeep" userId="b1434cc5-997d-4115-b984-843629191137" providerId="ADAL" clId="{F582C0B7-1715-436C-9AEE-BE5831BE8937}" dt="2025-11-05T11:29:42.350" v="1" actId="1076"/>
          <ac:picMkLst>
            <pc:docMk/>
            <pc:sldMk cId="492020610" sldId="261"/>
            <ac:picMk id="3" creationId="{71D6EF58-BA7F-C313-D78E-B68C3E036FE7}"/>
          </ac:picMkLst>
        </pc:picChg>
      </pc:sldChg>
      <pc:sldChg chg="add del">
        <pc:chgData name="Kamboj, Sandeep" userId="b1434cc5-997d-4115-b984-843629191137" providerId="ADAL" clId="{F582C0B7-1715-436C-9AEE-BE5831BE8937}" dt="2025-11-10T14:04:15.013" v="19"/>
        <pc:sldMkLst>
          <pc:docMk/>
          <pc:sldMk cId="2969283807" sldId="267"/>
        </pc:sldMkLst>
      </pc:sldChg>
      <pc:sldChg chg="add del">
        <pc:chgData name="Kamboj, Sandeep" userId="b1434cc5-997d-4115-b984-843629191137" providerId="ADAL" clId="{F582C0B7-1715-436C-9AEE-BE5831BE8937}" dt="2025-11-10T14:04:15.013" v="19"/>
        <pc:sldMkLst>
          <pc:docMk/>
          <pc:sldMk cId="1581551205" sldId="271"/>
        </pc:sldMkLst>
      </pc:sldChg>
      <pc:sldChg chg="modSp mod">
        <pc:chgData name="Kamboj, Sandeep" userId="b1434cc5-997d-4115-b984-843629191137" providerId="ADAL" clId="{F582C0B7-1715-436C-9AEE-BE5831BE8937}" dt="2025-11-05T11:29:58.264" v="9" actId="20577"/>
        <pc:sldMkLst>
          <pc:docMk/>
          <pc:sldMk cId="1126076712" sldId="2147472857"/>
        </pc:sldMkLst>
        <pc:spChg chg="mod">
          <ac:chgData name="Kamboj, Sandeep" userId="b1434cc5-997d-4115-b984-843629191137" providerId="ADAL" clId="{F582C0B7-1715-436C-9AEE-BE5831BE8937}" dt="2025-11-05T11:29:58.264" v="9" actId="20577"/>
          <ac:spMkLst>
            <pc:docMk/>
            <pc:sldMk cId="1126076712" sldId="2147472857"/>
            <ac:spMk id="5" creationId="{9014ADC4-BD15-2F2B-741A-EDFCCB5EC00A}"/>
          </ac:spMkLst>
        </pc:spChg>
      </pc:sldChg>
      <pc:sldChg chg="add del">
        <pc:chgData name="Kamboj, Sandeep" userId="b1434cc5-997d-4115-b984-843629191137" providerId="ADAL" clId="{F582C0B7-1715-436C-9AEE-BE5831BE8937}" dt="2025-11-10T14:04:15.013" v="19"/>
        <pc:sldMkLst>
          <pc:docMk/>
          <pc:sldMk cId="2506466334" sldId="2147483637"/>
        </pc:sldMkLst>
      </pc:sldChg>
      <pc:sldChg chg="add del">
        <pc:chgData name="Kamboj, Sandeep" userId="b1434cc5-997d-4115-b984-843629191137" providerId="ADAL" clId="{F582C0B7-1715-436C-9AEE-BE5831BE8937}" dt="2025-11-10T14:04:15.013" v="19"/>
        <pc:sldMkLst>
          <pc:docMk/>
          <pc:sldMk cId="2426759379" sldId="2147483639"/>
        </pc:sldMkLst>
      </pc:sldChg>
      <pc:sldChg chg="add del">
        <pc:chgData name="Kamboj, Sandeep" userId="b1434cc5-997d-4115-b984-843629191137" providerId="ADAL" clId="{F582C0B7-1715-436C-9AEE-BE5831BE8937}" dt="2025-11-10T14:04:15.013" v="19"/>
        <pc:sldMkLst>
          <pc:docMk/>
          <pc:sldMk cId="3770224913" sldId="2147483640"/>
        </pc:sldMkLst>
      </pc:sldChg>
      <pc:sldChg chg="add del">
        <pc:chgData name="Kamboj, Sandeep" userId="b1434cc5-997d-4115-b984-843629191137" providerId="ADAL" clId="{F582C0B7-1715-436C-9AEE-BE5831BE8937}" dt="2025-11-10T14:04:15.013" v="19"/>
        <pc:sldMkLst>
          <pc:docMk/>
          <pc:sldMk cId="3008949801" sldId="2147483641"/>
        </pc:sldMkLst>
      </pc:sldChg>
      <pc:sldChg chg="add del">
        <pc:chgData name="Kamboj, Sandeep" userId="b1434cc5-997d-4115-b984-843629191137" providerId="ADAL" clId="{F582C0B7-1715-436C-9AEE-BE5831BE8937}" dt="2025-11-10T14:04:15.013" v="19"/>
        <pc:sldMkLst>
          <pc:docMk/>
          <pc:sldMk cId="2479649701" sldId="2147483642"/>
        </pc:sldMkLst>
      </pc:sldChg>
      <pc:sldChg chg="add del">
        <pc:chgData name="Kamboj, Sandeep" userId="b1434cc5-997d-4115-b984-843629191137" providerId="ADAL" clId="{F582C0B7-1715-436C-9AEE-BE5831BE8937}" dt="2025-11-10T14:04:15.013" v="19"/>
        <pc:sldMkLst>
          <pc:docMk/>
          <pc:sldMk cId="3729392778" sldId="2147483644"/>
        </pc:sldMkLst>
      </pc:sldChg>
      <pc:sldChg chg="add">
        <pc:chgData name="Kamboj, Sandeep" userId="b1434cc5-997d-4115-b984-843629191137" providerId="ADAL" clId="{F582C0B7-1715-436C-9AEE-BE5831BE8937}" dt="2025-11-10T14:04:15.013" v="19"/>
        <pc:sldMkLst>
          <pc:docMk/>
          <pc:sldMk cId="711377347" sldId="2147483645"/>
        </pc:sldMkLst>
      </pc:sldChg>
      <pc:sldChg chg="del">
        <pc:chgData name="Kamboj, Sandeep" userId="b1434cc5-997d-4115-b984-843629191137" providerId="ADAL" clId="{F582C0B7-1715-436C-9AEE-BE5831BE8937}" dt="2025-11-10T14:04:02.831" v="10" actId="47"/>
        <pc:sldMkLst>
          <pc:docMk/>
          <pc:sldMk cId="468319835" sldId="2147483646"/>
        </pc:sldMkLst>
      </pc:sldChg>
    </pc:docChg>
  </pc:docChgLst>
  <pc:docChgLst>
    <pc:chgData name="N, Sathya" userId="S::sathya.n@in.imshealth.com::2497b27d-2624-42ce-96ac-79e298a7e50a" providerId="AD" clId="Web-{EA6211D0-3728-4D4A-8CAA-8F0DC08DC125}"/>
    <pc:docChg chg="modSld">
      <pc:chgData name="N, Sathya" userId="S::sathya.n@in.imshealth.com::2497b27d-2624-42ce-96ac-79e298a7e50a" providerId="AD" clId="Web-{EA6211D0-3728-4D4A-8CAA-8F0DC08DC125}" dt="2025-11-04T19:31:38.358" v="3" actId="20577"/>
      <pc:docMkLst>
        <pc:docMk/>
      </pc:docMkLst>
      <pc:sldChg chg="modSp">
        <pc:chgData name="N, Sathya" userId="S::sathya.n@in.imshealth.com::2497b27d-2624-42ce-96ac-79e298a7e50a" providerId="AD" clId="Web-{EA6211D0-3728-4D4A-8CAA-8F0DC08DC125}" dt="2025-11-04T19:31:38.358" v="3" actId="20577"/>
        <pc:sldMkLst>
          <pc:docMk/>
          <pc:sldMk cId="2530699808" sldId="2147483647"/>
        </pc:sldMkLst>
        <pc:spChg chg="mod">
          <ac:chgData name="N, Sathya" userId="S::sathya.n@in.imshealth.com::2497b27d-2624-42ce-96ac-79e298a7e50a" providerId="AD" clId="Web-{EA6211D0-3728-4D4A-8CAA-8F0DC08DC125}" dt="2025-11-04T19:31:38.358" v="3" actId="20577"/>
          <ac:spMkLst>
            <pc:docMk/>
            <pc:sldMk cId="2530699808" sldId="2147483647"/>
            <ac:spMk id="5" creationId="{9023E603-E0BE-059C-2F4B-5B9A8B80EBCB}"/>
          </ac:spMkLst>
        </pc:spChg>
      </pc:sldChg>
    </pc:docChg>
  </pc:docChgLst>
  <pc:docChgLst>
    <pc:chgData name="Kamboj, Sandeep" userId="b1434cc5-997d-4115-b984-843629191137" providerId="ADAL" clId="{4EDF17E4-0730-4FF5-A90D-3FE4224C9C3C}"/>
    <pc:docChg chg="undo custSel addSld delSld modSld">
      <pc:chgData name="Kamboj, Sandeep" userId="b1434cc5-997d-4115-b984-843629191137" providerId="ADAL" clId="{4EDF17E4-0730-4FF5-A90D-3FE4224C9C3C}" dt="2025-10-06T14:53:57.078" v="596" actId="47"/>
      <pc:docMkLst>
        <pc:docMk/>
      </pc:docMkLst>
      <pc:sldChg chg="modSp add del mod">
        <pc:chgData name="Kamboj, Sandeep" userId="b1434cc5-997d-4115-b984-843629191137" providerId="ADAL" clId="{4EDF17E4-0730-4FF5-A90D-3FE4224C9C3C}" dt="2025-10-06T14:53:57.078" v="596" actId="47"/>
        <pc:sldMkLst>
          <pc:docMk/>
          <pc:sldMk cId="2313352098" sldId="260"/>
        </pc:sldMkLst>
        <pc:spChg chg="mod">
          <ac:chgData name="Kamboj, Sandeep" userId="b1434cc5-997d-4115-b984-843629191137" providerId="ADAL" clId="{4EDF17E4-0730-4FF5-A90D-3FE4224C9C3C}" dt="2025-10-06T05:09:48.303" v="25"/>
          <ac:spMkLst>
            <pc:docMk/>
            <pc:sldMk cId="2313352098" sldId="260"/>
            <ac:spMk id="8" creationId="{E18C02D5-B939-BFF8-7657-D0B3D73FC719}"/>
          </ac:spMkLst>
        </pc:spChg>
      </pc:sldChg>
      <pc:sldChg chg="modSp mod">
        <pc:chgData name="Kamboj, Sandeep" userId="b1434cc5-997d-4115-b984-843629191137" providerId="ADAL" clId="{4EDF17E4-0730-4FF5-A90D-3FE4224C9C3C}" dt="2025-10-06T05:08:24.880" v="15" actId="20577"/>
        <pc:sldMkLst>
          <pc:docMk/>
          <pc:sldMk cId="1126076712" sldId="2147472857"/>
        </pc:sldMkLst>
        <pc:spChg chg="mod">
          <ac:chgData name="Kamboj, Sandeep" userId="b1434cc5-997d-4115-b984-843629191137" providerId="ADAL" clId="{4EDF17E4-0730-4FF5-A90D-3FE4224C9C3C}" dt="2025-10-06T05:08:24.880" v="15" actId="20577"/>
          <ac:spMkLst>
            <pc:docMk/>
            <pc:sldMk cId="1126076712" sldId="2147472857"/>
            <ac:spMk id="5" creationId="{9014ADC4-BD15-2F2B-741A-EDFCCB5EC00A}"/>
          </ac:spMkLst>
        </pc:spChg>
      </pc:sldChg>
      <pc:sldChg chg="modSp mod">
        <pc:chgData name="Kamboj, Sandeep" userId="b1434cc5-997d-4115-b984-843629191137" providerId="ADAL" clId="{4EDF17E4-0730-4FF5-A90D-3FE4224C9C3C}" dt="2025-10-06T05:10:20.305" v="59" actId="6549"/>
        <pc:sldMkLst>
          <pc:docMk/>
          <pc:sldMk cId="3907401283" sldId="2147472862"/>
        </pc:sldMkLst>
        <pc:spChg chg="mod">
          <ac:chgData name="Kamboj, Sandeep" userId="b1434cc5-997d-4115-b984-843629191137" providerId="ADAL" clId="{4EDF17E4-0730-4FF5-A90D-3FE4224C9C3C}" dt="2025-10-06T05:10:01.340" v="26"/>
          <ac:spMkLst>
            <pc:docMk/>
            <pc:sldMk cId="3907401283" sldId="2147472862"/>
            <ac:spMk id="2" creationId="{7F6C5644-711A-25EC-9948-82810157AC73}"/>
          </ac:spMkLst>
        </pc:spChg>
        <pc:spChg chg="mod">
          <ac:chgData name="Kamboj, Sandeep" userId="b1434cc5-997d-4115-b984-843629191137" providerId="ADAL" clId="{4EDF17E4-0730-4FF5-A90D-3FE4224C9C3C}" dt="2025-10-06T05:10:09.115" v="46" actId="20577"/>
          <ac:spMkLst>
            <pc:docMk/>
            <pc:sldMk cId="3907401283" sldId="2147472862"/>
            <ac:spMk id="4" creationId="{113FFB10-878E-0CD7-8E95-6DD7C8C36966}"/>
          </ac:spMkLst>
        </pc:spChg>
        <pc:spChg chg="mod">
          <ac:chgData name="Kamboj, Sandeep" userId="b1434cc5-997d-4115-b984-843629191137" providerId="ADAL" clId="{4EDF17E4-0730-4FF5-A90D-3FE4224C9C3C}" dt="2025-10-06T05:10:20.305" v="59" actId="6549"/>
          <ac:spMkLst>
            <pc:docMk/>
            <pc:sldMk cId="3907401283" sldId="2147472862"/>
            <ac:spMk id="6" creationId="{A6FA3F35-2A98-A6F5-EC87-BFD79E96D5CD}"/>
          </ac:spMkLst>
        </pc:spChg>
      </pc:sldChg>
      <pc:sldChg chg="modSp add mod">
        <pc:chgData name="Kamboj, Sandeep" userId="b1434cc5-997d-4115-b984-843629191137" providerId="ADAL" clId="{4EDF17E4-0730-4FF5-A90D-3FE4224C9C3C}" dt="2025-10-06T05:10:53.010" v="79" actId="20577"/>
        <pc:sldMkLst>
          <pc:docMk/>
          <pc:sldMk cId="3756554927" sldId="2147472863"/>
        </pc:sldMkLst>
        <pc:spChg chg="mod">
          <ac:chgData name="Kamboj, Sandeep" userId="b1434cc5-997d-4115-b984-843629191137" providerId="ADAL" clId="{4EDF17E4-0730-4FF5-A90D-3FE4224C9C3C}" dt="2025-10-06T05:10:45.744" v="63"/>
          <ac:spMkLst>
            <pc:docMk/>
            <pc:sldMk cId="3756554927" sldId="2147472863"/>
            <ac:spMk id="2" creationId="{DBE3ED8B-525E-677A-3E1C-EDDAB2741057}"/>
          </ac:spMkLst>
        </pc:spChg>
        <pc:spChg chg="mod">
          <ac:chgData name="Kamboj, Sandeep" userId="b1434cc5-997d-4115-b984-843629191137" providerId="ADAL" clId="{4EDF17E4-0730-4FF5-A90D-3FE4224C9C3C}" dt="2025-10-06T05:10:53.010" v="79" actId="20577"/>
          <ac:spMkLst>
            <pc:docMk/>
            <pc:sldMk cId="3756554927" sldId="2147472863"/>
            <ac:spMk id="4" creationId="{563CCE48-BCF7-0195-2B93-56DFE67CC5B3}"/>
          </ac:spMkLst>
        </pc:spChg>
      </pc:sldChg>
    </pc:docChg>
  </pc:docChgLst>
  <pc:docChgLst>
    <pc:chgData name="Galagali, Hemant" userId="S::hgalagali@in.imshealth.com::914704c7-058c-496d-b92f-5bebec08b7e2" providerId="AD" clId="Web-{B8C4DADE-68C6-4236-AA96-7424CDA150AC}"/>
    <pc:docChg chg="modSld">
      <pc:chgData name="Galagali, Hemant" userId="S::hgalagali@in.imshealth.com::914704c7-058c-496d-b92f-5bebec08b7e2" providerId="AD" clId="Web-{B8C4DADE-68C6-4236-AA96-7424CDA150AC}" dt="2025-10-06T11:22:56.727" v="33" actId="20577"/>
      <pc:docMkLst>
        <pc:docMk/>
      </pc:docMkLst>
    </pc:docChg>
  </pc:docChgLst>
  <pc:docChgLst>
    <pc:chgData name="Biradar, Shivasagar" userId="4b865266-c56a-491e-9f88-d9f07bb8d3d0" providerId="ADAL" clId="{673D5E9D-CF35-5C29-80CF-9FA08BCEACBE}"/>
    <pc:docChg chg="undo custSel addSld delSld modSld sldOrd modMainMaster">
      <pc:chgData name="Biradar, Shivasagar" userId="4b865266-c56a-491e-9f88-d9f07bb8d3d0" providerId="ADAL" clId="{673D5E9D-CF35-5C29-80CF-9FA08BCEACBE}" dt="2025-10-06T12:31:23.622" v="1358" actId="14100"/>
      <pc:docMkLst>
        <pc:docMk/>
      </pc:docMkLst>
      <pc:sldMasterChg chg="setBg modSldLayout">
        <pc:chgData name="Biradar, Shivasagar" userId="4b865266-c56a-491e-9f88-d9f07bb8d3d0" providerId="ADAL" clId="{673D5E9D-CF35-5C29-80CF-9FA08BCEACBE}" dt="2025-10-06T06:18:05.522" v="776"/>
        <pc:sldMasterMkLst>
          <pc:docMk/>
          <pc:sldMasterMk cId="1987436075" sldId="2147484233"/>
        </pc:sldMasterMkLst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3954096505" sldId="2147484240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1398012524" sldId="2147484241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91451306" sldId="2147484242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2498178777" sldId="2147484243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538521998" sldId="2147484244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3947928322" sldId="2147484245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3790624679" sldId="2147484246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3778182108" sldId="2147484247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3199369321" sldId="2147484248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2256368520" sldId="2147484249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3023169108" sldId="2147484250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2668684459" sldId="2147484251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1227332030" sldId="2147484252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1917386239" sldId="2147484253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2196808060" sldId="2147484254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1648039605" sldId="2147484255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2088556184" sldId="2147484256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4045338534" sldId="2147484273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2244019483" sldId="2147484274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1003711155" sldId="2147484275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837025878" sldId="2147484276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1036108618" sldId="2147484279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4194584050" sldId="2147484280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2878454205" sldId="2147484281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344165991" sldId="2147484282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3871094950" sldId="2147484283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3742791190" sldId="2147484284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4289832217" sldId="2147484285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1857318248" sldId="2147484286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1747279144" sldId="2147484287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1572061293" sldId="2147484288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2326933624" sldId="2147484289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3695752789" sldId="2147484290"/>
          </pc:sldLayoutMkLst>
        </pc:sldLayoutChg>
        <pc:sldLayoutChg chg="setBg">
          <pc:chgData name="Biradar, Shivasagar" userId="4b865266-c56a-491e-9f88-d9f07bb8d3d0" providerId="ADAL" clId="{673D5E9D-CF35-5C29-80CF-9FA08BCEACBE}" dt="2025-10-06T06:18:05.522" v="776"/>
          <pc:sldLayoutMkLst>
            <pc:docMk/>
            <pc:sldMasterMk cId="1987436075" sldId="2147484233"/>
            <pc:sldLayoutMk cId="258256572" sldId="2147484291"/>
          </pc:sldLayoutMkLst>
        </pc:sldLayoutChg>
      </pc:sldMasterChg>
    </pc:docChg>
  </pc:docChgLst>
  <pc:docChgLst>
    <pc:chgData name="N, Sathya" userId="S::sathya.n@in.imshealth.com::2497b27d-2624-42ce-96ac-79e298a7e50a" providerId="AD" clId="Web-{02555A08-F1B2-46C9-B18F-E740A872B8A5}"/>
    <pc:docChg chg="delSld">
      <pc:chgData name="N, Sathya" userId="S::sathya.n@in.imshealth.com::2497b27d-2624-42ce-96ac-79e298a7e50a" providerId="AD" clId="Web-{02555A08-F1B2-46C9-B18F-E740A872B8A5}" dt="2025-11-05T06:07:56.247" v="0"/>
      <pc:docMkLst>
        <pc:docMk/>
      </pc:docMkLst>
      <pc:sldChg chg="del">
        <pc:chgData name="N, Sathya" userId="S::sathya.n@in.imshealth.com::2497b27d-2624-42ce-96ac-79e298a7e50a" providerId="AD" clId="Web-{02555A08-F1B2-46C9-B18F-E740A872B8A5}" dt="2025-11-05T06:07:56.247" v="0"/>
        <pc:sldMkLst>
          <pc:docMk/>
          <pc:sldMk cId="3047780998" sldId="5461"/>
        </pc:sldMkLst>
      </pc:sldChg>
    </pc:docChg>
  </pc:docChgLst>
  <pc:docChgLst>
    <pc:chgData name="N, Sathya" userId="S::sathya.n@in.imshealth.com::2497b27d-2624-42ce-96ac-79e298a7e50a" providerId="AD" clId="Web-{4791FBBD-7C1F-48D5-A1AC-65E1B5001405}"/>
    <pc:docChg chg="addSld">
      <pc:chgData name="N, Sathya" userId="S::sathya.n@in.imshealth.com::2497b27d-2624-42ce-96ac-79e298a7e50a" providerId="AD" clId="Web-{4791FBBD-7C1F-48D5-A1AC-65E1B5001405}" dt="2025-11-04T19:28:54.145" v="0"/>
      <pc:docMkLst>
        <pc:docMk/>
      </pc:docMkLst>
      <pc:sldChg chg="add">
        <pc:chgData name="N, Sathya" userId="S::sathya.n@in.imshealth.com::2497b27d-2624-42ce-96ac-79e298a7e50a" providerId="AD" clId="Web-{4791FBBD-7C1F-48D5-A1AC-65E1B5001405}" dt="2025-11-04T19:28:54.145" v="0"/>
        <pc:sldMkLst>
          <pc:docMk/>
          <pc:sldMk cId="2530699808" sldId="2147483647"/>
        </pc:sldMkLst>
      </pc:sldChg>
    </pc:docChg>
  </pc:docChgLst>
  <pc:docChgLst>
    <pc:chgData name="Kamboj, Sandeep" userId="b1434cc5-997d-4115-b984-843629191137" providerId="ADAL" clId="{79378FFD-8E22-4EBE-B4E1-7A3CE28DFBF0}"/>
    <pc:docChg chg="custSel addSld delSld modSld sldOrd">
      <pc:chgData name="Kamboj, Sandeep" userId="b1434cc5-997d-4115-b984-843629191137" providerId="ADAL" clId="{79378FFD-8E22-4EBE-B4E1-7A3CE28DFBF0}" dt="2025-11-04T13:40:32.824" v="85" actId="47"/>
      <pc:docMkLst>
        <pc:docMk/>
      </pc:docMkLst>
      <pc:sldChg chg="modSp mod">
        <pc:chgData name="Kamboj, Sandeep" userId="b1434cc5-997d-4115-b984-843629191137" providerId="ADAL" clId="{79378FFD-8E22-4EBE-B4E1-7A3CE28DFBF0}" dt="2025-11-04T11:20:22.916" v="79" actId="20577"/>
        <pc:sldMkLst>
          <pc:docMk/>
          <pc:sldMk cId="2313352098" sldId="260"/>
        </pc:sldMkLst>
        <pc:spChg chg="mod">
          <ac:chgData name="Kamboj, Sandeep" userId="b1434cc5-997d-4115-b984-843629191137" providerId="ADAL" clId="{79378FFD-8E22-4EBE-B4E1-7A3CE28DFBF0}" dt="2025-11-04T11:20:22.916" v="79" actId="20577"/>
          <ac:spMkLst>
            <pc:docMk/>
            <pc:sldMk cId="2313352098" sldId="260"/>
            <ac:spMk id="8" creationId="{E18C02D5-B939-BFF8-7657-D0B3D73FC719}"/>
          </ac:spMkLst>
        </pc:spChg>
      </pc:sldChg>
      <pc:sldChg chg="addSp delSp modSp mod">
        <pc:chgData name="Kamboj, Sandeep" userId="b1434cc5-997d-4115-b984-843629191137" providerId="ADAL" clId="{79378FFD-8E22-4EBE-B4E1-7A3CE28DFBF0}" dt="2025-11-04T04:50:23.579" v="71" actId="1076"/>
        <pc:sldMkLst>
          <pc:docMk/>
          <pc:sldMk cId="492020610" sldId="261"/>
        </pc:sldMkLst>
        <pc:picChg chg="add mod">
          <ac:chgData name="Kamboj, Sandeep" userId="b1434cc5-997d-4115-b984-843629191137" providerId="ADAL" clId="{79378FFD-8E22-4EBE-B4E1-7A3CE28DFBF0}" dt="2025-11-04T04:50:23.579" v="71" actId="1076"/>
          <ac:picMkLst>
            <pc:docMk/>
            <pc:sldMk cId="492020610" sldId="261"/>
            <ac:picMk id="3" creationId="{71D6EF58-BA7F-C313-D78E-B68C3E036FE7}"/>
          </ac:picMkLst>
        </pc:picChg>
      </pc:sldChg>
      <pc:sldChg chg="add del">
        <pc:chgData name="Kamboj, Sandeep" userId="b1434cc5-997d-4115-b984-843629191137" providerId="ADAL" clId="{79378FFD-8E22-4EBE-B4E1-7A3CE28DFBF0}" dt="2025-11-04T04:47:33.215" v="62"/>
        <pc:sldMkLst>
          <pc:docMk/>
          <pc:sldMk cId="2969283807" sldId="267"/>
        </pc:sldMkLst>
      </pc:sldChg>
      <pc:sldChg chg="add del">
        <pc:chgData name="Kamboj, Sandeep" userId="b1434cc5-997d-4115-b984-843629191137" providerId="ADAL" clId="{79378FFD-8E22-4EBE-B4E1-7A3CE28DFBF0}" dt="2025-11-04T04:47:33.215" v="62"/>
        <pc:sldMkLst>
          <pc:docMk/>
          <pc:sldMk cId="1581551205" sldId="271"/>
        </pc:sldMkLst>
      </pc:sldChg>
      <pc:sldChg chg="add">
        <pc:chgData name="Kamboj, Sandeep" userId="b1434cc5-997d-4115-b984-843629191137" providerId="ADAL" clId="{79378FFD-8E22-4EBE-B4E1-7A3CE28DFBF0}" dt="2025-11-04T13:40:29.670" v="84"/>
        <pc:sldMkLst>
          <pc:docMk/>
          <pc:sldMk cId="3047780998" sldId="5461"/>
        </pc:sldMkLst>
      </pc:sldChg>
      <pc:sldChg chg="del">
        <pc:chgData name="Kamboj, Sandeep" userId="b1434cc5-997d-4115-b984-843629191137" providerId="ADAL" clId="{79378FFD-8E22-4EBE-B4E1-7A3CE28DFBF0}" dt="2025-11-04T04:31:56.620" v="2" actId="47"/>
        <pc:sldMkLst>
          <pc:docMk/>
          <pc:sldMk cId="1263283585" sldId="5530"/>
        </pc:sldMkLst>
      </pc:sldChg>
      <pc:sldChg chg="modSp mod ord">
        <pc:chgData name="Kamboj, Sandeep" userId="b1434cc5-997d-4115-b984-843629191137" providerId="ADAL" clId="{79378FFD-8E22-4EBE-B4E1-7A3CE28DFBF0}" dt="2025-11-04T11:20:32.930" v="83"/>
        <pc:sldMkLst>
          <pc:docMk/>
          <pc:sldMk cId="3907401283" sldId="2147472862"/>
        </pc:sldMkLst>
        <pc:spChg chg="mod">
          <ac:chgData name="Kamboj, Sandeep" userId="b1434cc5-997d-4115-b984-843629191137" providerId="ADAL" clId="{79378FFD-8E22-4EBE-B4E1-7A3CE28DFBF0}" dt="2025-11-04T04:33:38.762" v="58"/>
          <ac:spMkLst>
            <pc:docMk/>
            <pc:sldMk cId="3907401283" sldId="2147472862"/>
            <ac:spMk id="2" creationId="{7F6C5644-711A-25EC-9948-82810157AC73}"/>
          </ac:spMkLst>
        </pc:spChg>
        <pc:spChg chg="mod">
          <ac:chgData name="Kamboj, Sandeep" userId="b1434cc5-997d-4115-b984-843629191137" providerId="ADAL" clId="{79378FFD-8E22-4EBE-B4E1-7A3CE28DFBF0}" dt="2025-11-04T04:32:25.891" v="39" actId="20577"/>
          <ac:spMkLst>
            <pc:docMk/>
            <pc:sldMk cId="3907401283" sldId="2147472862"/>
            <ac:spMk id="4" creationId="{113FFB10-878E-0CD7-8E95-6DD7C8C36966}"/>
          </ac:spMkLst>
        </pc:spChg>
        <pc:spChg chg="mod">
          <ac:chgData name="Kamboj, Sandeep" userId="b1434cc5-997d-4115-b984-843629191137" providerId="ADAL" clId="{79378FFD-8E22-4EBE-B4E1-7A3CE28DFBF0}" dt="2025-11-04T04:32:34.674" v="51" actId="20577"/>
          <ac:spMkLst>
            <pc:docMk/>
            <pc:sldMk cId="3907401283" sldId="2147472862"/>
            <ac:spMk id="6" creationId="{A6FA3F35-2A98-A6F5-EC87-BFD79E96D5CD}"/>
          </ac:spMkLst>
        </pc:spChg>
      </pc:sldChg>
      <pc:sldChg chg="modSp mod">
        <pc:chgData name="Kamboj, Sandeep" userId="b1434cc5-997d-4115-b984-843629191137" providerId="ADAL" clId="{79378FFD-8E22-4EBE-B4E1-7A3CE28DFBF0}" dt="2025-11-04T04:33:49.974" v="59"/>
        <pc:sldMkLst>
          <pc:docMk/>
          <pc:sldMk cId="3756554927" sldId="2147472863"/>
        </pc:sldMkLst>
        <pc:spChg chg="mod">
          <ac:chgData name="Kamboj, Sandeep" userId="b1434cc5-997d-4115-b984-843629191137" providerId="ADAL" clId="{79378FFD-8E22-4EBE-B4E1-7A3CE28DFBF0}" dt="2025-11-04T04:33:49.974" v="59"/>
          <ac:spMkLst>
            <pc:docMk/>
            <pc:sldMk cId="3756554927" sldId="2147472863"/>
            <ac:spMk id="2" creationId="{DBE3ED8B-525E-677A-3E1C-EDDAB2741057}"/>
          </ac:spMkLst>
        </pc:spChg>
        <pc:spChg chg="mod">
          <ac:chgData name="Kamboj, Sandeep" userId="b1434cc5-997d-4115-b984-843629191137" providerId="ADAL" clId="{79378FFD-8E22-4EBE-B4E1-7A3CE28DFBF0}" dt="2025-11-04T04:32:08.878" v="21" actId="20577"/>
          <ac:spMkLst>
            <pc:docMk/>
            <pc:sldMk cId="3756554927" sldId="2147472863"/>
            <ac:spMk id="4" creationId="{563CCE48-BCF7-0195-2B93-56DFE67CC5B3}"/>
          </ac:spMkLst>
        </pc:spChg>
        <pc:spChg chg="mod">
          <ac:chgData name="Kamboj, Sandeep" userId="b1434cc5-997d-4115-b984-843629191137" providerId="ADAL" clId="{79378FFD-8E22-4EBE-B4E1-7A3CE28DFBF0}" dt="2025-11-04T04:32:16.920" v="31" actId="20577"/>
          <ac:spMkLst>
            <pc:docMk/>
            <pc:sldMk cId="3756554927" sldId="2147472863"/>
            <ac:spMk id="6" creationId="{41BEB749-9922-2BCE-5796-A28418B9CF10}"/>
          </ac:spMkLst>
        </pc:spChg>
      </pc:sldChg>
      <pc:sldChg chg="del">
        <pc:chgData name="Kamboj, Sandeep" userId="b1434cc5-997d-4115-b984-843629191137" providerId="ADAL" clId="{79378FFD-8E22-4EBE-B4E1-7A3CE28DFBF0}" dt="2025-11-04T04:32:01.254" v="8" actId="47"/>
        <pc:sldMkLst>
          <pc:docMk/>
          <pc:sldMk cId="2016927433" sldId="2147472864"/>
        </pc:sldMkLst>
      </pc:sldChg>
      <pc:sldChg chg="del">
        <pc:chgData name="Kamboj, Sandeep" userId="b1434cc5-997d-4115-b984-843629191137" providerId="ADAL" clId="{79378FFD-8E22-4EBE-B4E1-7A3CE28DFBF0}" dt="2025-11-04T04:31:56.152" v="1" actId="47"/>
        <pc:sldMkLst>
          <pc:docMk/>
          <pc:sldMk cId="2165505082" sldId="2147472866"/>
        </pc:sldMkLst>
      </pc:sldChg>
      <pc:sldChg chg="del">
        <pc:chgData name="Kamboj, Sandeep" userId="b1434cc5-997d-4115-b984-843629191137" providerId="ADAL" clId="{79378FFD-8E22-4EBE-B4E1-7A3CE28DFBF0}" dt="2025-11-04T04:31:55.391" v="0" actId="47"/>
        <pc:sldMkLst>
          <pc:docMk/>
          <pc:sldMk cId="2677225698" sldId="2147472867"/>
        </pc:sldMkLst>
      </pc:sldChg>
      <pc:sldChg chg="del">
        <pc:chgData name="Kamboj, Sandeep" userId="b1434cc5-997d-4115-b984-843629191137" providerId="ADAL" clId="{79378FFD-8E22-4EBE-B4E1-7A3CE28DFBF0}" dt="2025-11-04T04:31:58.162" v="5" actId="47"/>
        <pc:sldMkLst>
          <pc:docMk/>
          <pc:sldMk cId="4177655833" sldId="2147472868"/>
        </pc:sldMkLst>
      </pc:sldChg>
      <pc:sldChg chg="del">
        <pc:chgData name="Kamboj, Sandeep" userId="b1434cc5-997d-4115-b984-843629191137" providerId="ADAL" clId="{79378FFD-8E22-4EBE-B4E1-7A3CE28DFBF0}" dt="2025-11-04T04:31:57.110" v="3" actId="47"/>
        <pc:sldMkLst>
          <pc:docMk/>
          <pc:sldMk cId="1456171144" sldId="2147472869"/>
        </pc:sldMkLst>
      </pc:sldChg>
      <pc:sldChg chg="del">
        <pc:chgData name="Kamboj, Sandeep" userId="b1434cc5-997d-4115-b984-843629191137" providerId="ADAL" clId="{79378FFD-8E22-4EBE-B4E1-7A3CE28DFBF0}" dt="2025-11-04T04:31:57.599" v="4" actId="47"/>
        <pc:sldMkLst>
          <pc:docMk/>
          <pc:sldMk cId="101078090" sldId="2147472870"/>
        </pc:sldMkLst>
      </pc:sldChg>
      <pc:sldChg chg="del">
        <pc:chgData name="Kamboj, Sandeep" userId="b1434cc5-997d-4115-b984-843629191137" providerId="ADAL" clId="{79378FFD-8E22-4EBE-B4E1-7A3CE28DFBF0}" dt="2025-11-04T04:31:58.832" v="6" actId="47"/>
        <pc:sldMkLst>
          <pc:docMk/>
          <pc:sldMk cId="4059783686" sldId="2147472871"/>
        </pc:sldMkLst>
      </pc:sldChg>
      <pc:sldChg chg="del">
        <pc:chgData name="Kamboj, Sandeep" userId="b1434cc5-997d-4115-b984-843629191137" providerId="ADAL" clId="{79378FFD-8E22-4EBE-B4E1-7A3CE28DFBF0}" dt="2025-11-04T04:31:59.185" v="7" actId="47"/>
        <pc:sldMkLst>
          <pc:docMk/>
          <pc:sldMk cId="3298298118" sldId="2147472872"/>
        </pc:sldMkLst>
      </pc:sldChg>
      <pc:sldChg chg="add del">
        <pc:chgData name="Kamboj, Sandeep" userId="b1434cc5-997d-4115-b984-843629191137" providerId="ADAL" clId="{79378FFD-8E22-4EBE-B4E1-7A3CE28DFBF0}" dt="2025-11-04T04:47:33.215" v="62"/>
        <pc:sldMkLst>
          <pc:docMk/>
          <pc:sldMk cId="2506466334" sldId="2147483637"/>
        </pc:sldMkLst>
      </pc:sldChg>
      <pc:sldChg chg="add del">
        <pc:chgData name="Kamboj, Sandeep" userId="b1434cc5-997d-4115-b984-843629191137" providerId="ADAL" clId="{79378FFD-8E22-4EBE-B4E1-7A3CE28DFBF0}" dt="2025-11-04T04:47:33.215" v="62"/>
        <pc:sldMkLst>
          <pc:docMk/>
          <pc:sldMk cId="2426759379" sldId="2147483639"/>
        </pc:sldMkLst>
      </pc:sldChg>
      <pc:sldChg chg="add del">
        <pc:chgData name="Kamboj, Sandeep" userId="b1434cc5-997d-4115-b984-843629191137" providerId="ADAL" clId="{79378FFD-8E22-4EBE-B4E1-7A3CE28DFBF0}" dt="2025-11-04T04:47:33.215" v="62"/>
        <pc:sldMkLst>
          <pc:docMk/>
          <pc:sldMk cId="3770224913" sldId="2147483640"/>
        </pc:sldMkLst>
      </pc:sldChg>
      <pc:sldChg chg="add del">
        <pc:chgData name="Kamboj, Sandeep" userId="b1434cc5-997d-4115-b984-843629191137" providerId="ADAL" clId="{79378FFD-8E22-4EBE-B4E1-7A3CE28DFBF0}" dt="2025-11-04T04:47:33.215" v="62"/>
        <pc:sldMkLst>
          <pc:docMk/>
          <pc:sldMk cId="3008949801" sldId="2147483641"/>
        </pc:sldMkLst>
      </pc:sldChg>
      <pc:sldChg chg="add del">
        <pc:chgData name="Kamboj, Sandeep" userId="b1434cc5-997d-4115-b984-843629191137" providerId="ADAL" clId="{79378FFD-8E22-4EBE-B4E1-7A3CE28DFBF0}" dt="2025-11-04T04:47:33.215" v="62"/>
        <pc:sldMkLst>
          <pc:docMk/>
          <pc:sldMk cId="2479649701" sldId="2147483642"/>
        </pc:sldMkLst>
      </pc:sldChg>
      <pc:sldChg chg="add del">
        <pc:chgData name="Kamboj, Sandeep" userId="b1434cc5-997d-4115-b984-843629191137" providerId="ADAL" clId="{79378FFD-8E22-4EBE-B4E1-7A3CE28DFBF0}" dt="2025-11-04T04:47:33.215" v="62"/>
        <pc:sldMkLst>
          <pc:docMk/>
          <pc:sldMk cId="3729392778" sldId="2147483644"/>
        </pc:sldMkLst>
      </pc:sldChg>
      <pc:sldChg chg="add del">
        <pc:chgData name="Kamboj, Sandeep" userId="b1434cc5-997d-4115-b984-843629191137" providerId="ADAL" clId="{79378FFD-8E22-4EBE-B4E1-7A3CE28DFBF0}" dt="2025-11-04T13:40:32.824" v="85" actId="47"/>
        <pc:sldMkLst>
          <pc:docMk/>
          <pc:sldMk cId="711377347" sldId="2147483645"/>
        </pc:sldMkLst>
      </pc:sldChg>
      <pc:sldChg chg="add del">
        <pc:chgData name="Kamboj, Sandeep" userId="b1434cc5-997d-4115-b984-843629191137" providerId="ADAL" clId="{79378FFD-8E22-4EBE-B4E1-7A3CE28DFBF0}" dt="2025-11-04T04:47:33.215" v="62"/>
        <pc:sldMkLst>
          <pc:docMk/>
          <pc:sldMk cId="468319835" sldId="2147483646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600" b="1" noProof="0" dirty="0">
                <a:solidFill>
                  <a:schemeClr val="tx1"/>
                </a:solidFill>
              </a:rPr>
              <a:t>MQL contribution</a:t>
            </a:r>
            <a:r>
              <a:rPr lang="en-US" sz="1600" b="1" baseline="0" noProof="0" dirty="0">
                <a:solidFill>
                  <a:schemeClr val="tx1"/>
                </a:solidFill>
              </a:rPr>
              <a:t> | Download vs Lead Form Ads</a:t>
            </a:r>
            <a:endParaRPr lang="en-US" sz="1600" noProof="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13287420205551564"/>
          <c:y val="9.5507296657194474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dical Affair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B6D-462F-8A9B-3B4AF59291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Download Ad</c:v>
                </c:pt>
                <c:pt idx="1">
                  <c:v>Lead Form A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5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0C-48A1-B8D8-BE44A9420E7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W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E0C-48A1-B8D8-BE44A9420E7B}"/>
                </c:ext>
              </c:extLst>
            </c:dLbl>
            <c:dLbl>
              <c:idx val="1"/>
              <c:layout>
                <c:manualLayout>
                  <c:x val="-5.9602381717432356E-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376-4D22-BB5F-DA511F07B1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Download Ad</c:v>
                </c:pt>
                <c:pt idx="1">
                  <c:v>Lead Form Ad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35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E0C-48A1-B8D8-BE44A9420E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87213208"/>
        <c:axId val="787209968"/>
      </c:barChart>
      <c:catAx>
        <c:axId val="787213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87209968"/>
        <c:crosses val="autoZero"/>
        <c:auto val="1"/>
        <c:lblAlgn val="ctr"/>
        <c:lblOffset val="100"/>
        <c:noMultiLvlLbl val="0"/>
      </c:catAx>
      <c:valAx>
        <c:axId val="787209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872132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716070380781166"/>
          <c:y val="0.91965805881043527"/>
          <c:w val="0.31108063028971139"/>
          <c:h val="6.124048185812579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23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61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11/11/2025</a:t>
            </a:fld>
            <a:endParaRPr lang="en-US" sz="1000" i="1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91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04FCD28D-5205-B14D-9338-E5F52C4B3AF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3460" y="671457"/>
            <a:ext cx="1555593" cy="281237"/>
          </a:xfrm>
          <a:prstGeom prst="rect">
            <a:avLst/>
          </a:prstGeom>
        </p:spPr>
      </p:pic>
      <p:sp>
        <p:nvSpPr>
          <p:cNvPr id="20" name="Header Placeholder 19">
            <a:extLst>
              <a:ext uri="{FF2B5EF4-FFF2-40B4-BE49-F238E27FC236}">
                <a16:creationId xmlns:a16="http://schemas.microsoft.com/office/drawing/2014/main" id="{44B54E68-49B3-EB4F-9F06-63EBE21271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9F80914E-3226-3544-8067-D77A7810E7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73A95A9D-2083-FD47-8FCC-26405789E4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3E99797-5A44-E441-B5A2-75267FF5A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7C527-D302-0D4C-8820-8247C93BFD8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Notes Placeholder 23">
            <a:extLst>
              <a:ext uri="{FF2B5EF4-FFF2-40B4-BE49-F238E27FC236}">
                <a16:creationId xmlns:a16="http://schemas.microsoft.com/office/drawing/2014/main" id="{0824245F-47FC-6845-9612-BB5942EF9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089E4AFB-44C9-3941-9EFD-0F8219FA48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52FF9-2A45-F143-A9E3-2C98D6266DD3}" type="datetimeFigureOut">
              <a:rPr lang="en-US" smtClean="0"/>
              <a:t>11/11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692BFF-D403-CB34-29EA-93A83A628A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448E3B5-D49A-D03C-6062-D16C105BC3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73BEA8-AC72-E581-72CA-FEE2452D5D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3B367AB-16CC-A89C-FE83-2D39A02FABE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2778BD-518E-31C3-7EF0-E3267088B8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1690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AE9E8D-5F01-2070-F0D5-21315A82B8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900E669-EEFA-6B4F-9E3A-4D49AA962A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7C6D3F6-94AD-1345-4123-F3885A8C71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oking at January - November</a:t>
            </a:r>
          </a:p>
          <a:p>
            <a:endParaRPr lang="en-US" dirty="0"/>
          </a:p>
          <a:p>
            <a:r>
              <a:rPr lang="en-US" dirty="0"/>
              <a:t>Doc IMP = 904,974</a:t>
            </a:r>
          </a:p>
          <a:p>
            <a:r>
              <a:rPr lang="en-US" dirty="0"/>
              <a:t>Doc Clicks/CTR=6,579/.73%</a:t>
            </a:r>
          </a:p>
          <a:p>
            <a:r>
              <a:rPr lang="en-US" dirty="0"/>
              <a:t>Doc Cost $46,409.62</a:t>
            </a:r>
          </a:p>
          <a:p>
            <a:r>
              <a:rPr lang="en-US" dirty="0"/>
              <a:t>LF IMP = 735,058</a:t>
            </a:r>
          </a:p>
          <a:p>
            <a:r>
              <a:rPr lang="en-US" dirty="0"/>
              <a:t>LF Clicks/CTR = 4837</a:t>
            </a:r>
          </a:p>
          <a:p>
            <a:r>
              <a:rPr lang="en-US" dirty="0"/>
              <a:t>LF Cost $71,307.21</a:t>
            </a:r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99471706-BFAD-3CEC-14CC-1384DDBA342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86A711-65CB-0232-1DB1-CD1D7BFDB79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B0D951-4751-3EE7-B835-D75C474FDC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0527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9273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8382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sv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9.svg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B76970-59B0-02CE-F0CF-5DF2129D58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5000">
                <a:srgbClr val="140B42"/>
              </a:gs>
              <a:gs pos="80000">
                <a:srgbClr val="005587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486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486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</a:t>
            </a:r>
            <a:br>
              <a:rPr lang="en-US"/>
            </a:br>
            <a:r>
              <a:rPr lang="en-US"/>
              <a:t>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486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16200000">
            <a:off x="10172703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16200000">
            <a:off x="10741443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16200000">
            <a:off x="7833691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EC8515-986E-A47F-4BDA-CED96BF08D65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16200000">
            <a:off x="9058253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25B28D-E9A6-1255-B443-7613304201B6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338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493F902-AAD1-8100-DE89-9A4C865E166B}"/>
              </a:ext>
            </a:extLst>
          </p:cNvPr>
          <p:cNvSpPr/>
          <p:nvPr userDrawn="1"/>
        </p:nvSpPr>
        <p:spPr>
          <a:xfrm rot="2700000">
            <a:off x="9798166" y="-906004"/>
            <a:ext cx="1193902" cy="4301542"/>
          </a:xfrm>
          <a:custGeom>
            <a:avLst/>
            <a:gdLst>
              <a:gd name="connsiteX0" fmla="*/ 0 w 1193902"/>
              <a:gd name="connsiteY0" fmla="*/ 987355 h 4301542"/>
              <a:gd name="connsiteX1" fmla="*/ 987355 w 1193902"/>
              <a:gd name="connsiteY1" fmla="*/ 0 h 4301542"/>
              <a:gd name="connsiteX2" fmla="*/ 1193902 w 1193902"/>
              <a:gd name="connsiteY2" fmla="*/ 206546 h 4301542"/>
              <a:gd name="connsiteX3" fmla="*/ 1193901 w 1193902"/>
              <a:gd name="connsiteY3" fmla="*/ 3704591 h 4301542"/>
              <a:gd name="connsiteX4" fmla="*/ 596950 w 1193902"/>
              <a:gd name="connsiteY4" fmla="*/ 4301542 h 4301542"/>
              <a:gd name="connsiteX5" fmla="*/ 596951 w 1193902"/>
              <a:gd name="connsiteY5" fmla="*/ 4301541 h 4301542"/>
              <a:gd name="connsiteX6" fmla="*/ 0 w 1193902"/>
              <a:gd name="connsiteY6" fmla="*/ 370459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  <a:gd name="connsiteX7" fmla="*/ 1078795 w 1193902"/>
              <a:gd name="connsiteY7" fmla="*/ 9144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3902" h="4301542">
                <a:moveTo>
                  <a:pt x="987355" y="0"/>
                </a:moveTo>
                <a:lnTo>
                  <a:pt x="1193902" y="206546"/>
                </a:lnTo>
                <a:cubicBezTo>
                  <a:pt x="1193902" y="1372561"/>
                  <a:pt x="1193901" y="2538576"/>
                  <a:pt x="1193901" y="3704591"/>
                </a:cubicBezTo>
                <a:cubicBezTo>
                  <a:pt x="1193901" y="4034278"/>
                  <a:pt x="926637" y="4301542"/>
                  <a:pt x="596950" y="4301542"/>
                </a:cubicBezTo>
                <a:lnTo>
                  <a:pt x="596951" y="4301541"/>
                </a:lnTo>
                <a:cubicBezTo>
                  <a:pt x="267264" y="4301541"/>
                  <a:pt x="0" y="4034277"/>
                  <a:pt x="0" y="3704590"/>
                </a:cubicBezTo>
                <a:lnTo>
                  <a:pt x="0" y="987355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FC2DBB2-A181-4E29-6CCA-A8F30AC33C44}"/>
              </a:ext>
            </a:extLst>
          </p:cNvPr>
          <p:cNvSpPr/>
          <p:nvPr userDrawn="1"/>
        </p:nvSpPr>
        <p:spPr>
          <a:xfrm rot="2700000">
            <a:off x="11019741" y="1955164"/>
            <a:ext cx="825711" cy="2790751"/>
          </a:xfrm>
          <a:custGeom>
            <a:avLst/>
            <a:gdLst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6" fmla="*/ 91440 w 825711"/>
              <a:gd name="connsiteY6" fmla="*/ 91440 h 2882191"/>
              <a:gd name="connsiteX0" fmla="*/ 825711 w 825711"/>
              <a:gd name="connsiteY0" fmla="*/ 734271 h 2790751"/>
              <a:gd name="connsiteX1" fmla="*/ 825711 w 825711"/>
              <a:gd name="connsiteY1" fmla="*/ 2377895 h 2790751"/>
              <a:gd name="connsiteX2" fmla="*/ 412855 w 825711"/>
              <a:gd name="connsiteY2" fmla="*/ 2790751 h 2790751"/>
              <a:gd name="connsiteX3" fmla="*/ 412856 w 825711"/>
              <a:gd name="connsiteY3" fmla="*/ 2790750 h 2790751"/>
              <a:gd name="connsiteX4" fmla="*/ 0 w 825711"/>
              <a:gd name="connsiteY4" fmla="*/ 2377894 h 2790751"/>
              <a:gd name="connsiteX5" fmla="*/ 91440 w 825711"/>
              <a:gd name="connsiteY5" fmla="*/ 0 h 2790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2790751">
                <a:moveTo>
                  <a:pt x="825711" y="734271"/>
                </a:moveTo>
                <a:lnTo>
                  <a:pt x="825711" y="2377895"/>
                </a:lnTo>
                <a:cubicBezTo>
                  <a:pt x="825711" y="2605909"/>
                  <a:pt x="640869" y="2790751"/>
                  <a:pt x="412855" y="2790751"/>
                </a:cubicBezTo>
                <a:lnTo>
                  <a:pt x="412856" y="2790750"/>
                </a:lnTo>
                <a:cubicBezTo>
                  <a:pt x="184842" y="2790750"/>
                  <a:pt x="0" y="2605908"/>
                  <a:pt x="0" y="2377894"/>
                </a:cubicBezTo>
                <a:cubicBezTo>
                  <a:pt x="0" y="1554783"/>
                  <a:pt x="91440" y="0"/>
                  <a:pt x="91440" y="0"/>
                </a:cubicBez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FC722F8-9A5C-19E5-0242-1E41CA5B41E8}"/>
              </a:ext>
            </a:extLst>
          </p:cNvPr>
          <p:cNvSpPr/>
          <p:nvPr userDrawn="1"/>
        </p:nvSpPr>
        <p:spPr>
          <a:xfrm rot="2700000">
            <a:off x="10059962" y="-488825"/>
            <a:ext cx="1032256" cy="5442037"/>
          </a:xfrm>
          <a:custGeom>
            <a:avLst/>
            <a:gdLst>
              <a:gd name="connsiteX0" fmla="*/ 0 w 1032256"/>
              <a:gd name="connsiteY0" fmla="*/ 80350 h 5442037"/>
              <a:gd name="connsiteX1" fmla="*/ 80350 w 1032256"/>
              <a:gd name="connsiteY1" fmla="*/ 0 h 5442037"/>
              <a:gd name="connsiteX2" fmla="*/ 1032256 w 1032256"/>
              <a:gd name="connsiteY2" fmla="*/ 951906 h 5442037"/>
              <a:gd name="connsiteX3" fmla="*/ 1032255 w 1032256"/>
              <a:gd name="connsiteY3" fmla="*/ 4925909 h 5442037"/>
              <a:gd name="connsiteX4" fmla="*/ 516127 w 1032256"/>
              <a:gd name="connsiteY4" fmla="*/ 5442037 h 5442037"/>
              <a:gd name="connsiteX5" fmla="*/ 516128 w 1032256"/>
              <a:gd name="connsiteY5" fmla="*/ 5442036 h 5442037"/>
              <a:gd name="connsiteX6" fmla="*/ 0 w 1032256"/>
              <a:gd name="connsiteY6" fmla="*/ 4925908 h 544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2256" h="5442037">
                <a:moveTo>
                  <a:pt x="0" y="80350"/>
                </a:moveTo>
                <a:lnTo>
                  <a:pt x="80350" y="0"/>
                </a:lnTo>
                <a:lnTo>
                  <a:pt x="1032256" y="951906"/>
                </a:lnTo>
                <a:lnTo>
                  <a:pt x="1032255" y="4925909"/>
                </a:lnTo>
                <a:cubicBezTo>
                  <a:pt x="1032255" y="5210959"/>
                  <a:pt x="801177" y="5442037"/>
                  <a:pt x="516127" y="5442037"/>
                </a:cubicBezTo>
                <a:lnTo>
                  <a:pt x="516128" y="5442036"/>
                </a:lnTo>
                <a:cubicBezTo>
                  <a:pt x="231078" y="5442036"/>
                  <a:pt x="0" y="5210958"/>
                  <a:pt x="0" y="492590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61D5A5C-10B5-236E-C5A3-320C49CAC101}"/>
              </a:ext>
            </a:extLst>
          </p:cNvPr>
          <p:cNvSpPr/>
          <p:nvPr userDrawn="1"/>
        </p:nvSpPr>
        <p:spPr>
          <a:xfrm rot="2700000">
            <a:off x="10155384" y="-743160"/>
            <a:ext cx="619166" cy="4750557"/>
          </a:xfrm>
          <a:custGeom>
            <a:avLst/>
            <a:gdLst>
              <a:gd name="connsiteX0" fmla="*/ 0 w 619166"/>
              <a:gd name="connsiteY0" fmla="*/ 376697 h 4750557"/>
              <a:gd name="connsiteX1" fmla="*/ 376697 w 619166"/>
              <a:gd name="connsiteY1" fmla="*/ 0 h 4750557"/>
              <a:gd name="connsiteX2" fmla="*/ 619166 w 619166"/>
              <a:gd name="connsiteY2" fmla="*/ 242469 h 4750557"/>
              <a:gd name="connsiteX3" fmla="*/ 619165 w 619166"/>
              <a:gd name="connsiteY3" fmla="*/ 4440974 h 4750557"/>
              <a:gd name="connsiteX4" fmla="*/ 309582 w 619166"/>
              <a:gd name="connsiteY4" fmla="*/ 4750557 h 4750557"/>
              <a:gd name="connsiteX5" fmla="*/ 309583 w 619166"/>
              <a:gd name="connsiteY5" fmla="*/ 4750556 h 4750557"/>
              <a:gd name="connsiteX6" fmla="*/ 0 w 619166"/>
              <a:gd name="connsiteY6" fmla="*/ 4440973 h 4750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166" h="4750557">
                <a:moveTo>
                  <a:pt x="0" y="376697"/>
                </a:moveTo>
                <a:lnTo>
                  <a:pt x="376697" y="0"/>
                </a:lnTo>
                <a:lnTo>
                  <a:pt x="619166" y="242469"/>
                </a:lnTo>
                <a:lnTo>
                  <a:pt x="619165" y="4440974"/>
                </a:lnTo>
                <a:cubicBezTo>
                  <a:pt x="619165" y="4611952"/>
                  <a:pt x="480560" y="4750557"/>
                  <a:pt x="309582" y="4750557"/>
                </a:cubicBezTo>
                <a:lnTo>
                  <a:pt x="309583" y="4750556"/>
                </a:lnTo>
                <a:cubicBezTo>
                  <a:pt x="138605" y="4750556"/>
                  <a:pt x="0" y="4611951"/>
                  <a:pt x="0" y="4440973"/>
                </a:cubicBezTo>
                <a:close/>
              </a:path>
            </a:pathLst>
          </a:custGeom>
          <a:solidFill>
            <a:srgbClr val="0CE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380E180-0B33-1124-60B3-4CE23784FB15}"/>
              </a:ext>
            </a:extLst>
          </p:cNvPr>
          <p:cNvSpPr/>
          <p:nvPr userDrawn="1"/>
        </p:nvSpPr>
        <p:spPr>
          <a:xfrm rot="2700000">
            <a:off x="10829819" y="1073856"/>
            <a:ext cx="825711" cy="3510810"/>
          </a:xfrm>
          <a:custGeom>
            <a:avLst/>
            <a:gdLst>
              <a:gd name="connsiteX0" fmla="*/ 0 w 825711"/>
              <a:gd name="connsiteY0" fmla="*/ 0 h 3510810"/>
              <a:gd name="connsiteX1" fmla="*/ 825711 w 825711"/>
              <a:gd name="connsiteY1" fmla="*/ 825711 h 3510810"/>
              <a:gd name="connsiteX2" fmla="*/ 825711 w 825711"/>
              <a:gd name="connsiteY2" fmla="*/ 3097954 h 3510810"/>
              <a:gd name="connsiteX3" fmla="*/ 412855 w 825711"/>
              <a:gd name="connsiteY3" fmla="*/ 3510810 h 3510810"/>
              <a:gd name="connsiteX4" fmla="*/ 412856 w 825711"/>
              <a:gd name="connsiteY4" fmla="*/ 3510809 h 3510810"/>
              <a:gd name="connsiteX5" fmla="*/ 0 w 825711"/>
              <a:gd name="connsiteY5" fmla="*/ 3097953 h 351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3510810">
                <a:moveTo>
                  <a:pt x="0" y="0"/>
                </a:moveTo>
                <a:lnTo>
                  <a:pt x="825711" y="825711"/>
                </a:lnTo>
                <a:lnTo>
                  <a:pt x="825711" y="3097954"/>
                </a:lnTo>
                <a:cubicBezTo>
                  <a:pt x="825711" y="3325968"/>
                  <a:pt x="640869" y="3510810"/>
                  <a:pt x="412855" y="3510810"/>
                </a:cubicBezTo>
                <a:lnTo>
                  <a:pt x="412856" y="3510809"/>
                </a:lnTo>
                <a:cubicBezTo>
                  <a:pt x="184842" y="3510809"/>
                  <a:pt x="0" y="3325967"/>
                  <a:pt x="0" y="30979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58256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4175059"/>
            <a:ext cx="624575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45751" cy="2084832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4575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6E9086A-E529-2788-B0E4-EFA79D0E2F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1F4E818-2A83-7489-FE1B-DC8FFF233719}"/>
              </a:ext>
            </a:extLst>
          </p:cNvPr>
          <p:cNvSpPr/>
          <p:nvPr userDrawn="1"/>
        </p:nvSpPr>
        <p:spPr>
          <a:xfrm rot="900000">
            <a:off x="7116823" y="-191976"/>
            <a:ext cx="1244450" cy="1815506"/>
          </a:xfrm>
          <a:custGeom>
            <a:avLst/>
            <a:gdLst>
              <a:gd name="connsiteX0" fmla="*/ 0 w 1244450"/>
              <a:gd name="connsiteY0" fmla="*/ 333449 h 1815506"/>
              <a:gd name="connsiteX1" fmla="*/ 1244450 w 1244450"/>
              <a:gd name="connsiteY1" fmla="*/ 0 h 1815506"/>
              <a:gd name="connsiteX2" fmla="*/ 1244450 w 1244450"/>
              <a:gd name="connsiteY2" fmla="*/ 1193281 h 1815506"/>
              <a:gd name="connsiteX3" fmla="*/ 622225 w 1244450"/>
              <a:gd name="connsiteY3" fmla="*/ 1815506 h 1815506"/>
              <a:gd name="connsiteX4" fmla="*/ 0 w 1244450"/>
              <a:gd name="connsiteY4" fmla="*/ 1193281 h 1815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4450" h="1815506">
                <a:moveTo>
                  <a:pt x="0" y="333449"/>
                </a:moveTo>
                <a:lnTo>
                  <a:pt x="1244450" y="0"/>
                </a:lnTo>
                <a:lnTo>
                  <a:pt x="1244450" y="1193281"/>
                </a:lnTo>
                <a:cubicBezTo>
                  <a:pt x="1244450" y="1536926"/>
                  <a:pt x="965870" y="1815506"/>
                  <a:pt x="622225" y="1815506"/>
                </a:cubicBezTo>
                <a:cubicBezTo>
                  <a:pt x="278580" y="1815506"/>
                  <a:pt x="0" y="1536926"/>
                  <a:pt x="0" y="1193281"/>
                </a:cubicBezTo>
                <a:close/>
              </a:path>
            </a:pathLst>
          </a:custGeom>
          <a:gradFill>
            <a:gsLst>
              <a:gs pos="20000">
                <a:srgbClr val="140B42"/>
              </a:gs>
              <a:gs pos="80000">
                <a:schemeClr val="accent2"/>
              </a:gs>
            </a:gsLst>
            <a:lin ang="5400000" scaled="1"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213A8D0-50D2-BE07-C33B-5280FE4232B0}"/>
              </a:ext>
            </a:extLst>
          </p:cNvPr>
          <p:cNvSpPr/>
          <p:nvPr userDrawn="1"/>
        </p:nvSpPr>
        <p:spPr>
          <a:xfrm rot="900000">
            <a:off x="11384415" y="4422162"/>
            <a:ext cx="1089824" cy="2621535"/>
          </a:xfrm>
          <a:custGeom>
            <a:avLst/>
            <a:gdLst>
              <a:gd name="connsiteX0" fmla="*/ 465632 w 1089824"/>
              <a:gd name="connsiteY0" fmla="*/ 0 h 2621535"/>
              <a:gd name="connsiteX1" fmla="*/ 1089824 w 1089824"/>
              <a:gd name="connsiteY1" fmla="*/ 2329517 h 2621535"/>
              <a:gd name="connsiteX2" fmla="*/ 0 w 1089824"/>
              <a:gd name="connsiteY2" fmla="*/ 2621535 h 2621535"/>
              <a:gd name="connsiteX3" fmla="*/ 0 w 1089824"/>
              <a:gd name="connsiteY3" fmla="*/ 596865 h 2621535"/>
              <a:gd name="connsiteX4" fmla="*/ 377494 w 1089824"/>
              <a:gd name="connsiteY4" fmla="*/ 27359 h 2621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824" h="2621535">
                <a:moveTo>
                  <a:pt x="465632" y="0"/>
                </a:moveTo>
                <a:lnTo>
                  <a:pt x="1089824" y="2329517"/>
                </a:lnTo>
                <a:lnTo>
                  <a:pt x="0" y="2621535"/>
                </a:lnTo>
                <a:lnTo>
                  <a:pt x="0" y="596865"/>
                </a:lnTo>
                <a:cubicBezTo>
                  <a:pt x="0" y="340849"/>
                  <a:pt x="155656" y="121189"/>
                  <a:pt x="377494" y="27359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2"/>
              </a:gs>
              <a:gs pos="8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CA7F2F6-48FC-1B44-89F9-84682C0ED811}"/>
              </a:ext>
            </a:extLst>
          </p:cNvPr>
          <p:cNvSpPr/>
          <p:nvPr userDrawn="1"/>
        </p:nvSpPr>
        <p:spPr>
          <a:xfrm rot="900000">
            <a:off x="7841778" y="-500135"/>
            <a:ext cx="3914186" cy="7999940"/>
          </a:xfrm>
          <a:custGeom>
            <a:avLst/>
            <a:gdLst>
              <a:gd name="connsiteX0" fmla="*/ 3362855 w 3914186"/>
              <a:gd name="connsiteY0" fmla="*/ 0 h 7999940"/>
              <a:gd name="connsiteX1" fmla="*/ 3914186 w 3914186"/>
              <a:gd name="connsiteY1" fmla="*/ 2057597 h 7999940"/>
              <a:gd name="connsiteX2" fmla="*/ 3914185 w 3914186"/>
              <a:gd name="connsiteY2" fmla="*/ 6952194 h 7999940"/>
              <a:gd name="connsiteX3" fmla="*/ 3947 w 3914186"/>
              <a:gd name="connsiteY3" fmla="*/ 7999940 h 7999940"/>
              <a:gd name="connsiteX4" fmla="*/ 0 w 3914186"/>
              <a:gd name="connsiteY4" fmla="*/ 7921778 h 7999940"/>
              <a:gd name="connsiteX5" fmla="*/ 1 w 3914186"/>
              <a:gd name="connsiteY5" fmla="*/ 901074 h 7999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4186" h="7999940">
                <a:moveTo>
                  <a:pt x="3362855" y="0"/>
                </a:moveTo>
                <a:lnTo>
                  <a:pt x="3914186" y="2057597"/>
                </a:lnTo>
                <a:lnTo>
                  <a:pt x="3914185" y="6952194"/>
                </a:lnTo>
                <a:lnTo>
                  <a:pt x="3947" y="7999940"/>
                </a:lnTo>
                <a:lnTo>
                  <a:pt x="0" y="7921778"/>
                </a:lnTo>
                <a:lnTo>
                  <a:pt x="1" y="901074"/>
                </a:lnTo>
                <a:close/>
              </a:path>
            </a:pathLst>
          </a:custGeom>
          <a:solidFill>
            <a:schemeClr val="accent2"/>
          </a:soli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950733-D386-D461-6995-42A6097FF11E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224401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5400000" flipH="1">
            <a:off x="1141342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5400000" flipH="1">
            <a:off x="572602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5400000" flipH="1">
            <a:off x="766970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5400000" flipH="1">
            <a:off x="2255792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442453"/>
              <a:gd name="connsiteX1" fmla="*/ 0 w 877958"/>
              <a:gd name="connsiteY1" fmla="*/ 438979 h 5442453"/>
              <a:gd name="connsiteX2" fmla="*/ 438979 w 877958"/>
              <a:gd name="connsiteY2" fmla="*/ 0 h 5442453"/>
              <a:gd name="connsiteX3" fmla="*/ 438979 w 877958"/>
              <a:gd name="connsiteY3" fmla="*/ 0 h 5442453"/>
              <a:gd name="connsiteX4" fmla="*/ 877958 w 877958"/>
              <a:gd name="connsiteY4" fmla="*/ 438979 h 5442453"/>
              <a:gd name="connsiteX5" fmla="*/ 877958 w 877958"/>
              <a:gd name="connsiteY5" fmla="*/ 5389536 h 5442453"/>
              <a:gd name="connsiteX6" fmla="*/ 877958 w 877958"/>
              <a:gd name="connsiteY6" fmla="*/ 5389536 h 5442453"/>
              <a:gd name="connsiteX7" fmla="*/ 14816 w 877958"/>
              <a:gd name="connsiteY7" fmla="*/ 5442453 h 5442453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9C315F-6F0F-88CF-06F8-56C10BD0C2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B046CC9-1517-70B1-8165-DF336CD8DB1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5617028" y="2465262"/>
            <a:ext cx="5889171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878454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97C944E-D498-D622-98F6-EFDA46864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2001994"/>
            <a:ext cx="5588846" cy="328269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22C3E46-9D61-E508-04E3-6A06DDAA05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6C46D3E-AC6D-3103-8DBD-956D74F4C909}"/>
              </a:ext>
            </a:extLst>
          </p:cNvPr>
          <p:cNvSpPr/>
          <p:nvPr userDrawn="1"/>
        </p:nvSpPr>
        <p:spPr>
          <a:xfrm rot="900000">
            <a:off x="8442677" y="-448970"/>
            <a:ext cx="3111997" cy="7865277"/>
          </a:xfrm>
          <a:custGeom>
            <a:avLst/>
            <a:gdLst>
              <a:gd name="connsiteX0" fmla="*/ 0 w 3111997"/>
              <a:gd name="connsiteY0" fmla="*/ 743009 h 7865277"/>
              <a:gd name="connsiteX1" fmla="*/ 2772948 w 3111997"/>
              <a:gd name="connsiteY1" fmla="*/ 0 h 7865277"/>
              <a:gd name="connsiteX2" fmla="*/ 3111997 w 3111997"/>
              <a:gd name="connsiteY2" fmla="*/ 1265346 h 7865277"/>
              <a:gd name="connsiteX3" fmla="*/ 3111997 w 3111997"/>
              <a:gd name="connsiteY3" fmla="*/ 7031420 h 7865277"/>
              <a:gd name="connsiteX4" fmla="*/ 0 w 3111997"/>
              <a:gd name="connsiteY4" fmla="*/ 7865277 h 7865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997" h="7865277">
                <a:moveTo>
                  <a:pt x="0" y="743009"/>
                </a:moveTo>
                <a:lnTo>
                  <a:pt x="2772948" y="0"/>
                </a:lnTo>
                <a:lnTo>
                  <a:pt x="3111997" y="1265346"/>
                </a:lnTo>
                <a:lnTo>
                  <a:pt x="3111997" y="7031420"/>
                </a:lnTo>
                <a:lnTo>
                  <a:pt x="0" y="7865277"/>
                </a:lnTo>
                <a:close/>
              </a:path>
            </a:pathLst>
          </a:custGeom>
          <a:gradFill flip="none" rotWithShape="1">
            <a:gsLst>
              <a:gs pos="80000">
                <a:srgbClr val="005587"/>
              </a:gs>
              <a:gs pos="2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C91B8118-8001-4841-19F8-D496141A50A0}"/>
              </a:ext>
            </a:extLst>
          </p:cNvPr>
          <p:cNvSpPr/>
          <p:nvPr userDrawn="1"/>
        </p:nvSpPr>
        <p:spPr>
          <a:xfrm rot="900000">
            <a:off x="7857953" y="-251045"/>
            <a:ext cx="1122250" cy="6279582"/>
          </a:xfrm>
          <a:custGeom>
            <a:avLst/>
            <a:gdLst>
              <a:gd name="connsiteX0" fmla="*/ 0 w 1122250"/>
              <a:gd name="connsiteY0" fmla="*/ 299494 h 6279582"/>
              <a:gd name="connsiteX1" fmla="*/ 1117728 w 1122250"/>
              <a:gd name="connsiteY1" fmla="*/ 0 h 6279582"/>
              <a:gd name="connsiteX2" fmla="*/ 1122250 w 1122250"/>
              <a:gd name="connsiteY2" fmla="*/ 44868 h 6279582"/>
              <a:gd name="connsiteX3" fmla="*/ 1122250 w 1122250"/>
              <a:gd name="connsiteY3" fmla="*/ 5718457 h 6279582"/>
              <a:gd name="connsiteX4" fmla="*/ 561125 w 1122250"/>
              <a:gd name="connsiteY4" fmla="*/ 6279582 h 6279582"/>
              <a:gd name="connsiteX5" fmla="*/ 0 w 1122250"/>
              <a:gd name="connsiteY5" fmla="*/ 5718457 h 627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2250" h="6279582">
                <a:moveTo>
                  <a:pt x="0" y="299494"/>
                </a:moveTo>
                <a:lnTo>
                  <a:pt x="1117728" y="0"/>
                </a:lnTo>
                <a:lnTo>
                  <a:pt x="1122250" y="44868"/>
                </a:lnTo>
                <a:lnTo>
                  <a:pt x="1122250" y="5718457"/>
                </a:lnTo>
                <a:cubicBezTo>
                  <a:pt x="1122250" y="6028358"/>
                  <a:pt x="871026" y="6279582"/>
                  <a:pt x="561125" y="6279582"/>
                </a:cubicBezTo>
                <a:cubicBezTo>
                  <a:pt x="251224" y="6279582"/>
                  <a:pt x="0" y="6028358"/>
                  <a:pt x="0" y="57184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D0BEB81-5C21-E6CB-2945-4D85A1CF4B39}"/>
              </a:ext>
            </a:extLst>
          </p:cNvPr>
          <p:cNvSpPr/>
          <p:nvPr userDrawn="1"/>
        </p:nvSpPr>
        <p:spPr>
          <a:xfrm rot="900000">
            <a:off x="10684011" y="4443897"/>
            <a:ext cx="1122250" cy="2625649"/>
          </a:xfrm>
          <a:custGeom>
            <a:avLst/>
            <a:gdLst>
              <a:gd name="connsiteX0" fmla="*/ 448039 w 1122250"/>
              <a:gd name="connsiteY0" fmla="*/ 11400 h 2625649"/>
              <a:gd name="connsiteX1" fmla="*/ 561125 w 1122250"/>
              <a:gd name="connsiteY1" fmla="*/ 1 h 2625649"/>
              <a:gd name="connsiteX2" fmla="*/ 1122250 w 1122250"/>
              <a:gd name="connsiteY2" fmla="*/ 561125 h 2625649"/>
              <a:gd name="connsiteX3" fmla="*/ 1122250 w 1122250"/>
              <a:gd name="connsiteY3" fmla="*/ 2324943 h 2625649"/>
              <a:gd name="connsiteX4" fmla="*/ 0 w 1122250"/>
              <a:gd name="connsiteY4" fmla="*/ 2625649 h 2625649"/>
              <a:gd name="connsiteX5" fmla="*/ 0 w 1122250"/>
              <a:gd name="connsiteY5" fmla="*/ 561125 h 2625649"/>
              <a:gd name="connsiteX6" fmla="*/ 448039 w 1122250"/>
              <a:gd name="connsiteY6" fmla="*/ 11400 h 262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2250" h="2625649">
                <a:moveTo>
                  <a:pt x="448039" y="11400"/>
                </a:moveTo>
                <a:cubicBezTo>
                  <a:pt x="484566" y="3926"/>
                  <a:pt x="522387" y="0"/>
                  <a:pt x="561125" y="1"/>
                </a:cubicBezTo>
                <a:cubicBezTo>
                  <a:pt x="871026" y="0"/>
                  <a:pt x="1122250" y="251225"/>
                  <a:pt x="1122250" y="561125"/>
                </a:cubicBezTo>
                <a:lnTo>
                  <a:pt x="1122250" y="2324943"/>
                </a:lnTo>
                <a:lnTo>
                  <a:pt x="0" y="2625649"/>
                </a:lnTo>
                <a:lnTo>
                  <a:pt x="0" y="561125"/>
                </a:lnTo>
                <a:cubicBezTo>
                  <a:pt x="0" y="289962"/>
                  <a:pt x="192344" y="63723"/>
                  <a:pt x="448039" y="114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44165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95852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95852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95852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455B4A9-C2C4-4D4B-B5A6-E3BB93F31793}"/>
              </a:ext>
            </a:extLst>
          </p:cNvPr>
          <p:cNvSpPr/>
          <p:nvPr userDrawn="1"/>
        </p:nvSpPr>
        <p:spPr>
          <a:xfrm rot="18880191">
            <a:off x="7003968" y="958724"/>
            <a:ext cx="5766811" cy="1634831"/>
          </a:xfrm>
          <a:custGeom>
            <a:avLst/>
            <a:gdLst>
              <a:gd name="connsiteX0" fmla="*/ 7130190 w 7130190"/>
              <a:gd name="connsiteY0" fmla="*/ 1494581 h 2021334"/>
              <a:gd name="connsiteX1" fmla="*/ 6597331 w 7130190"/>
              <a:gd name="connsiteY1" fmla="*/ 2021334 h 2021334"/>
              <a:gd name="connsiteX2" fmla="*/ 1010667 w 7130190"/>
              <a:gd name="connsiteY2" fmla="*/ 2021334 h 2021334"/>
              <a:gd name="connsiteX3" fmla="*/ 0 w 7130190"/>
              <a:gd name="connsiteY3" fmla="*/ 1010667 h 2021334"/>
              <a:gd name="connsiteX4" fmla="*/ 1010667 w 7130190"/>
              <a:gd name="connsiteY4" fmla="*/ 0 h 2021334"/>
              <a:gd name="connsiteX5" fmla="*/ 5652735 w 7130190"/>
              <a:gd name="connsiteY5" fmla="*/ 0 h 2021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0190" h="2021334">
                <a:moveTo>
                  <a:pt x="7130190" y="1494581"/>
                </a:moveTo>
                <a:lnTo>
                  <a:pt x="6597331" y="2021334"/>
                </a:lnTo>
                <a:lnTo>
                  <a:pt x="1010667" y="2021334"/>
                </a:lnTo>
                <a:cubicBezTo>
                  <a:pt x="452491" y="2021334"/>
                  <a:pt x="0" y="1568843"/>
                  <a:pt x="0" y="1010667"/>
                </a:cubicBezTo>
                <a:cubicBezTo>
                  <a:pt x="0" y="452491"/>
                  <a:pt x="452491" y="0"/>
                  <a:pt x="1010667" y="0"/>
                </a:cubicBezTo>
                <a:lnTo>
                  <a:pt x="565273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745EF4D-5A59-0033-22CE-A967C3343CEA}"/>
              </a:ext>
            </a:extLst>
          </p:cNvPr>
          <p:cNvSpPr/>
          <p:nvPr userDrawn="1"/>
        </p:nvSpPr>
        <p:spPr>
          <a:xfrm rot="18880191">
            <a:off x="8499307" y="2355298"/>
            <a:ext cx="2930426" cy="887781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4CC37FF-6C44-F059-2F5F-95F30D6AF64C}"/>
              </a:ext>
            </a:extLst>
          </p:cNvPr>
          <p:cNvSpPr/>
          <p:nvPr userDrawn="1"/>
        </p:nvSpPr>
        <p:spPr>
          <a:xfrm rot="18880191">
            <a:off x="8572095" y="74113"/>
            <a:ext cx="2335382" cy="887781"/>
          </a:xfrm>
          <a:custGeom>
            <a:avLst/>
            <a:gdLst>
              <a:gd name="connsiteX0" fmla="*/ 1802418 w 2887509"/>
              <a:gd name="connsiteY0" fmla="*/ 0 h 1097669"/>
              <a:gd name="connsiteX1" fmla="*/ 2887509 w 2887509"/>
              <a:gd name="connsiteY1" fmla="*/ 1097669 h 1097669"/>
              <a:gd name="connsiteX2" fmla="*/ 548834 w 2887509"/>
              <a:gd name="connsiteY2" fmla="*/ 1097668 h 1097669"/>
              <a:gd name="connsiteX3" fmla="*/ 0 w 2887509"/>
              <a:gd name="connsiteY3" fmla="*/ 548834 h 1097669"/>
              <a:gd name="connsiteX4" fmla="*/ 548834 w 2887509"/>
              <a:gd name="connsiteY4" fmla="*/ 0 h 1097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7509" h="1097669">
                <a:moveTo>
                  <a:pt x="1802418" y="0"/>
                </a:moveTo>
                <a:lnTo>
                  <a:pt x="2887509" y="1097669"/>
                </a:lnTo>
                <a:lnTo>
                  <a:pt x="548834" y="1097668"/>
                </a:lnTo>
                <a:cubicBezTo>
                  <a:pt x="245721" y="1097668"/>
                  <a:pt x="0" y="851947"/>
                  <a:pt x="0" y="548834"/>
                </a:cubicBezTo>
                <a:cubicBezTo>
                  <a:pt x="0" y="245721"/>
                  <a:pt x="245721" y="0"/>
                  <a:pt x="54883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69183B-EF09-DEB8-DBB1-EE99DD036764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AC475A6-CE10-0E6A-2700-525C57FA92F3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437387" y="536223"/>
            <a:ext cx="3931862" cy="3934695"/>
          </a:xfrm>
          <a:custGeom>
            <a:avLst/>
            <a:gdLst>
              <a:gd name="connsiteX0" fmla="*/ 382156 w 3931862"/>
              <a:gd name="connsiteY0" fmla="*/ 10539 h 3934695"/>
              <a:gd name="connsiteX1" fmla="*/ 384583 w 3931862"/>
              <a:gd name="connsiteY1" fmla="*/ 9785 h 3934695"/>
              <a:gd name="connsiteX2" fmla="*/ 481653 w 3931862"/>
              <a:gd name="connsiteY2" fmla="*/ 0 h 3934695"/>
              <a:gd name="connsiteX3" fmla="*/ 1113950 w 3931862"/>
              <a:gd name="connsiteY3" fmla="*/ 0 h 3934695"/>
              <a:gd name="connsiteX4" fmla="*/ 3931862 w 3931862"/>
              <a:gd name="connsiteY4" fmla="*/ 2817912 h 3934695"/>
              <a:gd name="connsiteX5" fmla="*/ 3931862 w 3931862"/>
              <a:gd name="connsiteY5" fmla="*/ 3453042 h 3934695"/>
              <a:gd name="connsiteX6" fmla="*/ 3450209 w 3931862"/>
              <a:gd name="connsiteY6" fmla="*/ 3934695 h 3934695"/>
              <a:gd name="connsiteX7" fmla="*/ 481653 w 3931862"/>
              <a:gd name="connsiteY7" fmla="*/ 3934695 h 3934695"/>
              <a:gd name="connsiteX8" fmla="*/ 0 w 3931862"/>
              <a:gd name="connsiteY8" fmla="*/ 3453042 h 3934695"/>
              <a:gd name="connsiteX9" fmla="*/ 0 w 3931862"/>
              <a:gd name="connsiteY9" fmla="*/ 481653 h 3934695"/>
              <a:gd name="connsiteX10" fmla="*/ 9786 w 3931862"/>
              <a:gd name="connsiteY10" fmla="*/ 384583 h 3934695"/>
              <a:gd name="connsiteX11" fmla="*/ 10539 w 3931862"/>
              <a:gd name="connsiteY11" fmla="*/ 382157 h 3934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31862" h="3934695">
                <a:moveTo>
                  <a:pt x="382156" y="10539"/>
                </a:moveTo>
                <a:lnTo>
                  <a:pt x="384583" y="9785"/>
                </a:lnTo>
                <a:cubicBezTo>
                  <a:pt x="415937" y="3370"/>
                  <a:pt x="448402" y="0"/>
                  <a:pt x="481653" y="0"/>
                </a:cubicBezTo>
                <a:lnTo>
                  <a:pt x="1113950" y="0"/>
                </a:lnTo>
                <a:lnTo>
                  <a:pt x="3931862" y="2817912"/>
                </a:lnTo>
                <a:lnTo>
                  <a:pt x="3931862" y="3453042"/>
                </a:lnTo>
                <a:cubicBezTo>
                  <a:pt x="3931862" y="3719052"/>
                  <a:pt x="3716219" y="3934695"/>
                  <a:pt x="3450209" y="3934695"/>
                </a:cubicBezTo>
                <a:lnTo>
                  <a:pt x="481653" y="3934695"/>
                </a:lnTo>
                <a:cubicBezTo>
                  <a:pt x="215643" y="3934695"/>
                  <a:pt x="0" y="3719052"/>
                  <a:pt x="0" y="3453042"/>
                </a:cubicBezTo>
                <a:lnTo>
                  <a:pt x="0" y="481653"/>
                </a:lnTo>
                <a:cubicBezTo>
                  <a:pt x="0" y="448402"/>
                  <a:pt x="3369" y="415937"/>
                  <a:pt x="9786" y="384583"/>
                </a:cubicBezTo>
                <a:lnTo>
                  <a:pt x="10539" y="3821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4012F6A-325E-BA05-9E6A-DBAD18E7D956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10223690" y="810799"/>
            <a:ext cx="3785617" cy="3568117"/>
          </a:xfrm>
          <a:custGeom>
            <a:avLst/>
            <a:gdLst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7" fmla="*/ 197031 w 3804547"/>
              <a:gd name="connsiteY7" fmla="*/ 91440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3804547 w 3804547"/>
              <a:gd name="connsiteY0" fmla="*/ 3593489 h 3596007"/>
              <a:gd name="connsiteX1" fmla="*/ 3779576 w 3804547"/>
              <a:gd name="connsiteY1" fmla="*/ 3596007 h 3596007"/>
              <a:gd name="connsiteX2" fmla="*/ 501834 w 3804547"/>
              <a:gd name="connsiteY2" fmla="*/ 3596007 h 3596007"/>
              <a:gd name="connsiteX3" fmla="*/ 0 w 3804547"/>
              <a:gd name="connsiteY3" fmla="*/ 3094173 h 3596007"/>
              <a:gd name="connsiteX4" fmla="*/ 0 w 3804547"/>
              <a:gd name="connsiteY4" fmla="*/ 1237 h 3596007"/>
              <a:gd name="connsiteX5" fmla="*/ 125 w 3804547"/>
              <a:gd name="connsiteY5" fmla="*/ 0 h 35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4547" h="3596007">
                <a:moveTo>
                  <a:pt x="3804547" y="3593489"/>
                </a:moveTo>
                <a:lnTo>
                  <a:pt x="3779576" y="3596007"/>
                </a:lnTo>
                <a:lnTo>
                  <a:pt x="501834" y="3596007"/>
                </a:lnTo>
                <a:cubicBezTo>
                  <a:pt x="224679" y="3596007"/>
                  <a:pt x="0" y="3371328"/>
                  <a:pt x="0" y="3094173"/>
                </a:cubicBezTo>
                <a:lnTo>
                  <a:pt x="0" y="1237"/>
                </a:lnTo>
                <a:cubicBezTo>
                  <a:pt x="42" y="825"/>
                  <a:pt x="83" y="412"/>
                  <a:pt x="125" y="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711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AEDBA70-406E-67AC-EA19-AFC94EEB8D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80FF161-95B3-687F-236E-89576B37039B}"/>
              </a:ext>
            </a:extLst>
          </p:cNvPr>
          <p:cNvSpPr/>
          <p:nvPr userDrawn="1"/>
        </p:nvSpPr>
        <p:spPr>
          <a:xfrm rot="18896850">
            <a:off x="8810675" y="809749"/>
            <a:ext cx="2572502" cy="6381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1B89BCA-B6DC-9CFA-1B14-60CBF7F68A9A}"/>
              </a:ext>
            </a:extLst>
          </p:cNvPr>
          <p:cNvSpPr/>
          <p:nvPr userDrawn="1"/>
        </p:nvSpPr>
        <p:spPr>
          <a:xfrm rot="18896850">
            <a:off x="9955161" y="3750354"/>
            <a:ext cx="2884755" cy="638140"/>
          </a:xfrm>
          <a:custGeom>
            <a:avLst/>
            <a:gdLst>
              <a:gd name="connsiteX0" fmla="*/ 3674317 w 3674317"/>
              <a:gd name="connsiteY0" fmla="*/ 0 h 812800"/>
              <a:gd name="connsiteX1" fmla="*/ 2860027 w 3674317"/>
              <a:gd name="connsiteY1" fmla="*/ 812800 h 812800"/>
              <a:gd name="connsiteX2" fmla="*/ 406400 w 3674317"/>
              <a:gd name="connsiteY2" fmla="*/ 812800 h 812800"/>
              <a:gd name="connsiteX3" fmla="*/ 0 w 3674317"/>
              <a:gd name="connsiteY3" fmla="*/ 406400 h 812800"/>
              <a:gd name="connsiteX4" fmla="*/ 406400 w 3674317"/>
              <a:gd name="connsiteY4" fmla="*/ 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4317" h="812800">
                <a:moveTo>
                  <a:pt x="3674317" y="0"/>
                </a:moveTo>
                <a:lnTo>
                  <a:pt x="2860027" y="812800"/>
                </a:lnTo>
                <a:lnTo>
                  <a:pt x="406400" y="812800"/>
                </a:lnTo>
                <a:cubicBezTo>
                  <a:pt x="181951" y="812800"/>
                  <a:pt x="0" y="630849"/>
                  <a:pt x="0" y="406400"/>
                </a:cubicBezTo>
                <a:cubicBezTo>
                  <a:pt x="0" y="181951"/>
                  <a:pt x="181951" y="0"/>
                  <a:pt x="4064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F014C0-8BB5-5793-9DBD-D422EF624E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711200"/>
            <a:ext cx="7285515" cy="45766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381AB1C-94E0-88DE-B7FB-AF548E53C0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20C9601-4C00-1F60-ACBA-FDEED78A2031}"/>
              </a:ext>
            </a:extLst>
          </p:cNvPr>
          <p:cNvSpPr>
            <a:spLocks/>
          </p:cNvSpPr>
          <p:nvPr userDrawn="1"/>
        </p:nvSpPr>
        <p:spPr bwMode="auto">
          <a:xfrm>
            <a:off x="11012739" y="-38910"/>
            <a:ext cx="1224656" cy="1829007"/>
          </a:xfrm>
          <a:custGeom>
            <a:avLst/>
            <a:gdLst>
              <a:gd name="connsiteX0" fmla="*/ 153315 w 1224656"/>
              <a:gd name="connsiteY0" fmla="*/ 0 h 1829007"/>
              <a:gd name="connsiteX1" fmla="*/ 1224656 w 1224656"/>
              <a:gd name="connsiteY1" fmla="*/ 0 h 1829007"/>
              <a:gd name="connsiteX2" fmla="*/ 1224656 w 1224656"/>
              <a:gd name="connsiteY2" fmla="*/ 1829007 h 1829007"/>
              <a:gd name="connsiteX3" fmla="*/ 1154215 w 1224656"/>
              <a:gd name="connsiteY3" fmla="*/ 1758565 h 1829007"/>
              <a:gd name="connsiteX4" fmla="*/ 159544 w 1224656"/>
              <a:gd name="connsiteY4" fmla="*/ 763895 h 1829007"/>
              <a:gd name="connsiteX5" fmla="*/ 89744 w 1224656"/>
              <a:gd name="connsiteY5" fmla="*/ 77872 h 1829007"/>
              <a:gd name="connsiteX0" fmla="*/ 1224656 w 1316096"/>
              <a:gd name="connsiteY0" fmla="*/ 0 h 1829007"/>
              <a:gd name="connsiteX1" fmla="*/ 1224656 w 1316096"/>
              <a:gd name="connsiteY1" fmla="*/ 1829007 h 1829007"/>
              <a:gd name="connsiteX2" fmla="*/ 1154215 w 1316096"/>
              <a:gd name="connsiteY2" fmla="*/ 1758565 h 1829007"/>
              <a:gd name="connsiteX3" fmla="*/ 159544 w 1316096"/>
              <a:gd name="connsiteY3" fmla="*/ 763895 h 1829007"/>
              <a:gd name="connsiteX4" fmla="*/ 89744 w 1316096"/>
              <a:gd name="connsiteY4" fmla="*/ 77872 h 1829007"/>
              <a:gd name="connsiteX5" fmla="*/ 153315 w 1316096"/>
              <a:gd name="connsiteY5" fmla="*/ 0 h 1829007"/>
              <a:gd name="connsiteX6" fmla="*/ 1316096 w 1316096"/>
              <a:gd name="connsiteY6" fmla="*/ 91440 h 1829007"/>
              <a:gd name="connsiteX0" fmla="*/ 1224656 w 1224656"/>
              <a:gd name="connsiteY0" fmla="*/ 0 h 1829007"/>
              <a:gd name="connsiteX1" fmla="*/ 1224656 w 1224656"/>
              <a:gd name="connsiteY1" fmla="*/ 1829007 h 1829007"/>
              <a:gd name="connsiteX2" fmla="*/ 1154215 w 1224656"/>
              <a:gd name="connsiteY2" fmla="*/ 1758565 h 1829007"/>
              <a:gd name="connsiteX3" fmla="*/ 159544 w 1224656"/>
              <a:gd name="connsiteY3" fmla="*/ 763895 h 1829007"/>
              <a:gd name="connsiteX4" fmla="*/ 89744 w 1224656"/>
              <a:gd name="connsiteY4" fmla="*/ 77872 h 1829007"/>
              <a:gd name="connsiteX5" fmla="*/ 153315 w 1224656"/>
              <a:gd name="connsiteY5" fmla="*/ 0 h 1829007"/>
              <a:gd name="connsiteX0" fmla="*/ 1224656 w 1224656"/>
              <a:gd name="connsiteY0" fmla="*/ 1829007 h 1829007"/>
              <a:gd name="connsiteX1" fmla="*/ 1154215 w 1224656"/>
              <a:gd name="connsiteY1" fmla="*/ 1758565 h 1829007"/>
              <a:gd name="connsiteX2" fmla="*/ 159544 w 1224656"/>
              <a:gd name="connsiteY2" fmla="*/ 763895 h 1829007"/>
              <a:gd name="connsiteX3" fmla="*/ 89744 w 1224656"/>
              <a:gd name="connsiteY3" fmla="*/ 77872 h 1829007"/>
              <a:gd name="connsiteX4" fmla="*/ 153315 w 1224656"/>
              <a:gd name="connsiteY4" fmla="*/ 0 h 1829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656" h="1829007">
                <a:moveTo>
                  <a:pt x="1224656" y="1829007"/>
                </a:moveTo>
                <a:lnTo>
                  <a:pt x="1154215" y="1758565"/>
                </a:lnTo>
                <a:lnTo>
                  <a:pt x="159544" y="763895"/>
                </a:lnTo>
                <a:cubicBezTo>
                  <a:pt x="-26590" y="577761"/>
                  <a:pt x="-49857" y="289530"/>
                  <a:pt x="89744" y="77872"/>
                </a:cubicBezTo>
                <a:lnTo>
                  <a:pt x="153315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0699829-9421-BC32-D008-18D3C6101425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141640" y="1040337"/>
            <a:ext cx="3187991" cy="3194255"/>
          </a:xfrm>
          <a:custGeom>
            <a:avLst/>
            <a:gdLst>
              <a:gd name="connsiteX0" fmla="*/ 159586 w 3187991"/>
              <a:gd name="connsiteY0" fmla="*/ 159586 h 3194255"/>
              <a:gd name="connsiteX1" fmla="*/ 544860 w 3187991"/>
              <a:gd name="connsiteY1" fmla="*/ 0 h 3194255"/>
              <a:gd name="connsiteX2" fmla="*/ 2056479 w 3187991"/>
              <a:gd name="connsiteY2" fmla="*/ 0 h 3194255"/>
              <a:gd name="connsiteX3" fmla="*/ 3187991 w 3187991"/>
              <a:gd name="connsiteY3" fmla="*/ 1131513 h 3194255"/>
              <a:gd name="connsiteX4" fmla="*/ 3187991 w 3187991"/>
              <a:gd name="connsiteY4" fmla="*/ 2649395 h 3194255"/>
              <a:gd name="connsiteX5" fmla="*/ 2643131 w 3187991"/>
              <a:gd name="connsiteY5" fmla="*/ 3194255 h 3194255"/>
              <a:gd name="connsiteX6" fmla="*/ 544860 w 3187991"/>
              <a:gd name="connsiteY6" fmla="*/ 3194255 h 3194255"/>
              <a:gd name="connsiteX7" fmla="*/ 0 w 3187991"/>
              <a:gd name="connsiteY7" fmla="*/ 2649395 h 3194255"/>
              <a:gd name="connsiteX8" fmla="*/ 0 w 3187991"/>
              <a:gd name="connsiteY8" fmla="*/ 544860 h 3194255"/>
              <a:gd name="connsiteX9" fmla="*/ 159586 w 3187991"/>
              <a:gd name="connsiteY9" fmla="*/ 159586 h 3194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87991" h="3194255">
                <a:moveTo>
                  <a:pt x="159586" y="159586"/>
                </a:moveTo>
                <a:cubicBezTo>
                  <a:pt x="258186" y="60985"/>
                  <a:pt x="394401" y="0"/>
                  <a:pt x="544860" y="0"/>
                </a:cubicBezTo>
                <a:lnTo>
                  <a:pt x="2056479" y="0"/>
                </a:lnTo>
                <a:lnTo>
                  <a:pt x="3187991" y="1131513"/>
                </a:lnTo>
                <a:lnTo>
                  <a:pt x="3187991" y="2649395"/>
                </a:lnTo>
                <a:cubicBezTo>
                  <a:pt x="3187991" y="2950313"/>
                  <a:pt x="2944049" y="3194255"/>
                  <a:pt x="2643131" y="3194255"/>
                </a:cubicBezTo>
                <a:lnTo>
                  <a:pt x="544860" y="3194255"/>
                </a:lnTo>
                <a:cubicBezTo>
                  <a:pt x="243942" y="3194255"/>
                  <a:pt x="0" y="2950313"/>
                  <a:pt x="0" y="2649395"/>
                </a:cubicBezTo>
                <a:lnTo>
                  <a:pt x="0" y="544860"/>
                </a:lnTo>
                <a:cubicBezTo>
                  <a:pt x="0" y="394401"/>
                  <a:pt x="60985" y="258186"/>
                  <a:pt x="159586" y="1595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094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>
            <a:spLocks/>
          </p:cNvSpPr>
          <p:nvPr userDrawn="1"/>
        </p:nvSpPr>
        <p:spPr>
          <a:xfrm rot="2700000">
            <a:off x="8997003" y="-456334"/>
            <a:ext cx="1658711" cy="544391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D8CB6CB-17D6-9423-37F8-6EFC4880AEC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1741713"/>
            <a:ext cx="5071843" cy="33745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CA16036-B78E-0275-6CA7-911DE4060426}"/>
              </a:ext>
            </a:extLst>
          </p:cNvPr>
          <p:cNvSpPr>
            <a:spLocks/>
          </p:cNvSpPr>
          <p:nvPr userDrawn="1"/>
        </p:nvSpPr>
        <p:spPr>
          <a:xfrm rot="2700000">
            <a:off x="9736981" y="3459243"/>
            <a:ext cx="1658711" cy="3580309"/>
          </a:xfrm>
          <a:prstGeom prst="roundRect">
            <a:avLst>
              <a:gd name="adj" fmla="val 50000"/>
            </a:avLst>
          </a:pr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BB13D00-4BF1-FD01-6A9F-B1CBB0812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AE586FF-C25B-AF33-5F15-454F206B53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40637" y="1828800"/>
            <a:ext cx="4551363" cy="35814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4279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5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609600"/>
            <a:ext cx="6202680" cy="46782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889AB6EA-4B7F-D626-10ED-8532995C4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480E36D-D806-7D05-D8DC-4ADC176E28F1}"/>
              </a:ext>
            </a:extLst>
          </p:cNvPr>
          <p:cNvSpPr/>
          <p:nvPr userDrawn="1"/>
        </p:nvSpPr>
        <p:spPr>
          <a:xfrm rot="13473600">
            <a:off x="9007218" y="-739919"/>
            <a:ext cx="2599744" cy="5533217"/>
          </a:xfrm>
          <a:custGeom>
            <a:avLst/>
            <a:gdLst>
              <a:gd name="connsiteX0" fmla="*/ 1378880 w 2599744"/>
              <a:gd name="connsiteY0" fmla="*/ 5533217 h 5533217"/>
              <a:gd name="connsiteX1" fmla="*/ 0 w 2599744"/>
              <a:gd name="connsiteY1" fmla="*/ 4132994 h 5533217"/>
              <a:gd name="connsiteX2" fmla="*/ 0 w 2599744"/>
              <a:gd name="connsiteY2" fmla="*/ 1299873 h 5533217"/>
              <a:gd name="connsiteX3" fmla="*/ 1299872 w 2599744"/>
              <a:gd name="connsiteY3" fmla="*/ 0 h 5533217"/>
              <a:gd name="connsiteX4" fmla="*/ 2599744 w 2599744"/>
              <a:gd name="connsiteY4" fmla="*/ 1299872 h 5533217"/>
              <a:gd name="connsiteX5" fmla="*/ 2599744 w 2599744"/>
              <a:gd name="connsiteY5" fmla="*/ 4330962 h 553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9744" h="5533217">
                <a:moveTo>
                  <a:pt x="1378880" y="5533217"/>
                </a:moveTo>
                <a:lnTo>
                  <a:pt x="0" y="4132994"/>
                </a:lnTo>
                <a:lnTo>
                  <a:pt x="0" y="1299873"/>
                </a:lnTo>
                <a:cubicBezTo>
                  <a:pt x="0" y="581972"/>
                  <a:pt x="581972" y="0"/>
                  <a:pt x="1299872" y="0"/>
                </a:cubicBezTo>
                <a:cubicBezTo>
                  <a:pt x="2017771" y="0"/>
                  <a:pt x="2599744" y="581973"/>
                  <a:pt x="2599744" y="1299872"/>
                </a:cubicBezTo>
                <a:lnTo>
                  <a:pt x="2599744" y="433096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79252B4-99CA-3419-840E-DA516CC6BEBB}"/>
              </a:ext>
            </a:extLst>
          </p:cNvPr>
          <p:cNvSpPr/>
          <p:nvPr userDrawn="1"/>
        </p:nvSpPr>
        <p:spPr>
          <a:xfrm rot="20457708">
            <a:off x="11186621" y="-13688"/>
            <a:ext cx="660198" cy="358286"/>
          </a:xfrm>
          <a:custGeom>
            <a:avLst/>
            <a:gdLst>
              <a:gd name="connsiteX0" fmla="*/ 318178 w 660198"/>
              <a:gd name="connsiteY0" fmla="*/ 0 h 358286"/>
              <a:gd name="connsiteX1" fmla="*/ 660198 w 660198"/>
              <a:gd name="connsiteY1" fmla="*/ 118023 h 358286"/>
              <a:gd name="connsiteX2" fmla="*/ 229425 w 660198"/>
              <a:gd name="connsiteY2" fmla="*/ 330222 h 358286"/>
              <a:gd name="connsiteX3" fmla="*/ 13408 w 660198"/>
              <a:gd name="connsiteY3" fmla="*/ 296211 h 358286"/>
              <a:gd name="connsiteX4" fmla="*/ 11570 w 660198"/>
              <a:gd name="connsiteY4" fmla="*/ 291615 h 358286"/>
              <a:gd name="connsiteX5" fmla="*/ 116362 w 660198"/>
              <a:gd name="connsiteY5" fmla="*/ 99498 h 358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198" h="358286">
                <a:moveTo>
                  <a:pt x="318178" y="0"/>
                </a:moveTo>
                <a:lnTo>
                  <a:pt x="660198" y="118023"/>
                </a:lnTo>
                <a:lnTo>
                  <a:pt x="229425" y="330222"/>
                </a:lnTo>
                <a:cubicBezTo>
                  <a:pt x="69481" y="409276"/>
                  <a:pt x="13408" y="296211"/>
                  <a:pt x="13408" y="296211"/>
                </a:cubicBezTo>
                <a:lnTo>
                  <a:pt x="11570" y="291615"/>
                </a:lnTo>
                <a:cubicBezTo>
                  <a:pt x="-43583" y="178552"/>
                  <a:pt x="116362" y="99498"/>
                  <a:pt x="116362" y="9949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BAC8301-D0B3-F09B-8934-4C4BF853D744}"/>
              </a:ext>
            </a:extLst>
          </p:cNvPr>
          <p:cNvSpPr/>
          <p:nvPr userDrawn="1"/>
        </p:nvSpPr>
        <p:spPr>
          <a:xfrm rot="2700000">
            <a:off x="9373836" y="-702513"/>
            <a:ext cx="780382" cy="2913053"/>
          </a:xfrm>
          <a:custGeom>
            <a:avLst/>
            <a:gdLst>
              <a:gd name="connsiteX0" fmla="*/ 0 w 780382"/>
              <a:gd name="connsiteY0" fmla="*/ 780382 h 2913053"/>
              <a:gd name="connsiteX1" fmla="*/ 780382 w 780382"/>
              <a:gd name="connsiteY1" fmla="*/ 0 h 2913053"/>
              <a:gd name="connsiteX2" fmla="*/ 780382 w 780382"/>
              <a:gd name="connsiteY2" fmla="*/ 2522862 h 2913053"/>
              <a:gd name="connsiteX3" fmla="*/ 390191 w 780382"/>
              <a:gd name="connsiteY3" fmla="*/ 2913053 h 2913053"/>
              <a:gd name="connsiteX4" fmla="*/ 0 w 780382"/>
              <a:gd name="connsiteY4" fmla="*/ 2522862 h 291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382" h="2913053">
                <a:moveTo>
                  <a:pt x="0" y="780382"/>
                </a:moveTo>
                <a:lnTo>
                  <a:pt x="780382" y="0"/>
                </a:lnTo>
                <a:lnTo>
                  <a:pt x="780382" y="2522862"/>
                </a:lnTo>
                <a:cubicBezTo>
                  <a:pt x="780382" y="2738359"/>
                  <a:pt x="605688" y="2913053"/>
                  <a:pt x="390191" y="2913053"/>
                </a:cubicBezTo>
                <a:cubicBezTo>
                  <a:pt x="174694" y="2913053"/>
                  <a:pt x="0" y="2738359"/>
                  <a:pt x="0" y="252286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03DB20-CA44-5144-7694-2FBF81D0EACA}"/>
              </a:ext>
            </a:extLst>
          </p:cNvPr>
          <p:cNvSpPr/>
          <p:nvPr userDrawn="1"/>
        </p:nvSpPr>
        <p:spPr>
          <a:xfrm rot="2700000">
            <a:off x="11469147" y="2339446"/>
            <a:ext cx="1193519" cy="1550166"/>
          </a:xfrm>
          <a:custGeom>
            <a:avLst/>
            <a:gdLst>
              <a:gd name="connsiteX0" fmla="*/ 0 w 1193519"/>
              <a:gd name="connsiteY0" fmla="*/ 0 h 1550166"/>
              <a:gd name="connsiteX1" fmla="*/ 1193519 w 1193519"/>
              <a:gd name="connsiteY1" fmla="*/ 1193519 h 1550166"/>
              <a:gd name="connsiteX2" fmla="*/ 1150445 w 1193519"/>
              <a:gd name="connsiteY2" fmla="*/ 1272877 h 1550166"/>
              <a:gd name="connsiteX3" fmla="*/ 628928 w 1193519"/>
              <a:gd name="connsiteY3" fmla="*/ 1550166 h 1550166"/>
              <a:gd name="connsiteX4" fmla="*/ 0 w 1193519"/>
              <a:gd name="connsiteY4" fmla="*/ 921238 h 155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3519" h="1550166">
                <a:moveTo>
                  <a:pt x="0" y="0"/>
                </a:moveTo>
                <a:lnTo>
                  <a:pt x="1193519" y="1193519"/>
                </a:lnTo>
                <a:lnTo>
                  <a:pt x="1150445" y="1272877"/>
                </a:lnTo>
                <a:cubicBezTo>
                  <a:pt x="1037422" y="1440173"/>
                  <a:pt x="846020" y="1550166"/>
                  <a:pt x="628928" y="1550166"/>
                </a:cubicBezTo>
                <a:cubicBezTo>
                  <a:pt x="281581" y="1550166"/>
                  <a:pt x="0" y="1268585"/>
                  <a:pt x="0" y="92123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289832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971393-FE1D-3B6A-5952-3200539F4C21}"/>
              </a:ext>
            </a:extLst>
          </p:cNvPr>
          <p:cNvSpPr/>
          <p:nvPr userDrawn="1"/>
        </p:nvSpPr>
        <p:spPr>
          <a:xfrm rot="18900000">
            <a:off x="9590939" y="-1090570"/>
            <a:ext cx="3074362" cy="4401184"/>
          </a:xfrm>
          <a:custGeom>
            <a:avLst/>
            <a:gdLst>
              <a:gd name="connsiteX0" fmla="*/ 906398 w 3074362"/>
              <a:gd name="connsiteY0" fmla="*/ 0 h 4401184"/>
              <a:gd name="connsiteX1" fmla="*/ 3074362 w 3074362"/>
              <a:gd name="connsiteY1" fmla="*/ 2167965 h 4401184"/>
              <a:gd name="connsiteX2" fmla="*/ 841143 w 3074362"/>
              <a:gd name="connsiteY2" fmla="*/ 4401184 h 4401184"/>
              <a:gd name="connsiteX3" fmla="*/ 334666 w 3074362"/>
              <a:gd name="connsiteY3" fmla="*/ 4401184 h 4401184"/>
              <a:gd name="connsiteX4" fmla="*/ 0 w 3074362"/>
              <a:gd name="connsiteY4" fmla="*/ 4066518 h 4401184"/>
              <a:gd name="connsiteX5" fmla="*/ 0 w 3074362"/>
              <a:gd name="connsiteY5" fmla="*/ 334667 h 4401184"/>
              <a:gd name="connsiteX6" fmla="*/ 334666 w 3074362"/>
              <a:gd name="connsiteY6" fmla="*/ 0 h 4401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4362" h="4401184">
                <a:moveTo>
                  <a:pt x="906398" y="0"/>
                </a:moveTo>
                <a:lnTo>
                  <a:pt x="3074362" y="2167965"/>
                </a:lnTo>
                <a:lnTo>
                  <a:pt x="841143" y="4401184"/>
                </a:lnTo>
                <a:lnTo>
                  <a:pt x="334666" y="4401184"/>
                </a:lnTo>
                <a:cubicBezTo>
                  <a:pt x="149835" y="4401184"/>
                  <a:pt x="0" y="4251349"/>
                  <a:pt x="0" y="4066518"/>
                </a:cubicBezTo>
                <a:lnTo>
                  <a:pt x="0" y="334667"/>
                </a:lnTo>
                <a:cubicBezTo>
                  <a:pt x="0" y="149835"/>
                  <a:pt x="149835" y="0"/>
                  <a:pt x="334666" y="0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9D7148-A6F2-CBCC-1252-9028ED2C858C}"/>
              </a:ext>
            </a:extLst>
          </p:cNvPr>
          <p:cNvSpPr/>
          <p:nvPr userDrawn="1"/>
        </p:nvSpPr>
        <p:spPr>
          <a:xfrm rot="2700000">
            <a:off x="6613319" y="-912201"/>
            <a:ext cx="3072335" cy="3072335"/>
          </a:xfrm>
          <a:custGeom>
            <a:avLst/>
            <a:gdLst>
              <a:gd name="connsiteX0" fmla="*/ 0 w 2777410"/>
              <a:gd name="connsiteY0" fmla="*/ 1975810 h 2777410"/>
              <a:gd name="connsiteX1" fmla="*/ 1975810 w 2777410"/>
              <a:gd name="connsiteY1" fmla="*/ 0 h 2777410"/>
              <a:gd name="connsiteX2" fmla="*/ 2540164 w 2777410"/>
              <a:gd name="connsiteY2" fmla="*/ 0 h 2777410"/>
              <a:gd name="connsiteX3" fmla="*/ 2777410 w 2777410"/>
              <a:gd name="connsiteY3" fmla="*/ 237247 h 2777410"/>
              <a:gd name="connsiteX4" fmla="*/ 2777410 w 2777410"/>
              <a:gd name="connsiteY4" fmla="*/ 2540163 h 2777410"/>
              <a:gd name="connsiteX5" fmla="*/ 2540163 w 2777410"/>
              <a:gd name="connsiteY5" fmla="*/ 2777410 h 2777410"/>
              <a:gd name="connsiteX6" fmla="*/ 237247 w 2777410"/>
              <a:gd name="connsiteY6" fmla="*/ 2777410 h 2777410"/>
              <a:gd name="connsiteX7" fmla="*/ 0 w 2777410"/>
              <a:gd name="connsiteY7" fmla="*/ 2540163 h 277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7410" h="2777410">
                <a:moveTo>
                  <a:pt x="0" y="1975810"/>
                </a:moveTo>
                <a:lnTo>
                  <a:pt x="1975810" y="0"/>
                </a:lnTo>
                <a:lnTo>
                  <a:pt x="2540164" y="0"/>
                </a:lnTo>
                <a:cubicBezTo>
                  <a:pt x="2671191" y="0"/>
                  <a:pt x="2777410" y="106219"/>
                  <a:pt x="2777410" y="237247"/>
                </a:cubicBezTo>
                <a:lnTo>
                  <a:pt x="2777410" y="2540163"/>
                </a:lnTo>
                <a:cubicBezTo>
                  <a:pt x="2777410" y="2671191"/>
                  <a:pt x="2671191" y="2777410"/>
                  <a:pt x="2540163" y="2777410"/>
                </a:cubicBezTo>
                <a:lnTo>
                  <a:pt x="237247" y="2777410"/>
                </a:lnTo>
                <a:cubicBezTo>
                  <a:pt x="106220" y="2777410"/>
                  <a:pt x="0" y="2671190"/>
                  <a:pt x="0" y="2540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74CF-7CCB-20DD-E6E1-8A9CD0E03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67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74CF-7CCB-20DD-E6E1-8A9CD0E03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3DC1846-D39B-50FF-487A-FD15579093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2049693"/>
            <a:ext cx="5593080" cy="275861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FA3B847E-CEDD-4F28-13DA-54DB8604616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8579893" y="133677"/>
            <a:ext cx="2515488" cy="2515488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BB57922-089B-617B-DB05-C881EA21986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rot="16200000">
            <a:off x="7666727" y="-76160"/>
            <a:ext cx="4560732" cy="465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6C75E6-2F25-C869-52E2-8C5D355F51AF}"/>
              </a:ext>
            </a:extLst>
          </p:cNvPr>
          <p:cNvSpPr>
            <a:spLocks/>
          </p:cNvSpPr>
          <p:nvPr userDrawn="1"/>
        </p:nvSpPr>
        <p:spPr bwMode="auto">
          <a:xfrm rot="18900000">
            <a:off x="8399071" y="-1421668"/>
            <a:ext cx="2843336" cy="2843336"/>
          </a:xfrm>
          <a:custGeom>
            <a:avLst/>
            <a:gdLst>
              <a:gd name="connsiteX0" fmla="*/ 0 w 2843336"/>
              <a:gd name="connsiteY0" fmla="*/ 0 h 2843336"/>
              <a:gd name="connsiteX1" fmla="*/ 2843336 w 2843336"/>
              <a:gd name="connsiteY1" fmla="*/ 2843336 h 2843336"/>
              <a:gd name="connsiteX2" fmla="*/ 268488 w 2843336"/>
              <a:gd name="connsiteY2" fmla="*/ 2843336 h 2843336"/>
              <a:gd name="connsiteX3" fmla="*/ 0 w 2843336"/>
              <a:gd name="connsiteY3" fmla="*/ 2585131 h 2843336"/>
              <a:gd name="connsiteX0" fmla="*/ 2843336 w 2934776"/>
              <a:gd name="connsiteY0" fmla="*/ 2843336 h 2934776"/>
              <a:gd name="connsiteX1" fmla="*/ 268488 w 2934776"/>
              <a:gd name="connsiteY1" fmla="*/ 2843336 h 2934776"/>
              <a:gd name="connsiteX2" fmla="*/ 0 w 2934776"/>
              <a:gd name="connsiteY2" fmla="*/ 2585131 h 2934776"/>
              <a:gd name="connsiteX3" fmla="*/ 0 w 2934776"/>
              <a:gd name="connsiteY3" fmla="*/ 0 h 2934776"/>
              <a:gd name="connsiteX4" fmla="*/ 2934776 w 2934776"/>
              <a:gd name="connsiteY4" fmla="*/ 2934776 h 2934776"/>
              <a:gd name="connsiteX0" fmla="*/ 2843336 w 2843336"/>
              <a:gd name="connsiteY0" fmla="*/ 2843336 h 2843336"/>
              <a:gd name="connsiteX1" fmla="*/ 268488 w 2843336"/>
              <a:gd name="connsiteY1" fmla="*/ 2843336 h 2843336"/>
              <a:gd name="connsiteX2" fmla="*/ 0 w 2843336"/>
              <a:gd name="connsiteY2" fmla="*/ 2585131 h 2843336"/>
              <a:gd name="connsiteX3" fmla="*/ 0 w 2843336"/>
              <a:gd name="connsiteY3" fmla="*/ 0 h 284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3336" h="2843336">
                <a:moveTo>
                  <a:pt x="2843336" y="2843336"/>
                </a:moveTo>
                <a:lnTo>
                  <a:pt x="268488" y="2843336"/>
                </a:lnTo>
                <a:cubicBezTo>
                  <a:pt x="120207" y="2843336"/>
                  <a:pt x="0" y="2727734"/>
                  <a:pt x="0" y="2585131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A10C533-42F2-F66F-9D74-979D4CA2EBD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318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7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1786095"/>
            <a:ext cx="5071843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D67CFEF-F865-1F9D-9E2C-67AFFAA0CE63}"/>
              </a:ext>
            </a:extLst>
          </p:cNvPr>
          <p:cNvSpPr/>
          <p:nvPr userDrawn="1"/>
        </p:nvSpPr>
        <p:spPr>
          <a:xfrm rot="900000">
            <a:off x="10293886" y="-208160"/>
            <a:ext cx="964663" cy="4890833"/>
          </a:xfrm>
          <a:custGeom>
            <a:avLst/>
            <a:gdLst>
              <a:gd name="connsiteX0" fmla="*/ 0 w 964663"/>
              <a:gd name="connsiteY0" fmla="*/ 258480 h 4890833"/>
              <a:gd name="connsiteX1" fmla="*/ 964663 w 964663"/>
              <a:gd name="connsiteY1" fmla="*/ 0 h 4890833"/>
              <a:gd name="connsiteX2" fmla="*/ 964663 w 964663"/>
              <a:gd name="connsiteY2" fmla="*/ 4408501 h 4890833"/>
              <a:gd name="connsiteX3" fmla="*/ 482331 w 964663"/>
              <a:gd name="connsiteY3" fmla="*/ 4890833 h 4890833"/>
              <a:gd name="connsiteX4" fmla="*/ 482332 w 964663"/>
              <a:gd name="connsiteY4" fmla="*/ 4890832 h 4890833"/>
              <a:gd name="connsiteX5" fmla="*/ 0 w 964663"/>
              <a:gd name="connsiteY5" fmla="*/ 4408500 h 4890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4663" h="4890833">
                <a:moveTo>
                  <a:pt x="0" y="258480"/>
                </a:moveTo>
                <a:lnTo>
                  <a:pt x="964663" y="0"/>
                </a:lnTo>
                <a:lnTo>
                  <a:pt x="964663" y="4408501"/>
                </a:lnTo>
                <a:cubicBezTo>
                  <a:pt x="964663" y="4674886"/>
                  <a:pt x="748716" y="4890833"/>
                  <a:pt x="482331" y="4890833"/>
                </a:cubicBezTo>
                <a:lnTo>
                  <a:pt x="482332" y="4890832"/>
                </a:lnTo>
                <a:cubicBezTo>
                  <a:pt x="215947" y="4890832"/>
                  <a:pt x="0" y="4674885"/>
                  <a:pt x="0" y="4408500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BD764AA-01FA-C186-C3E0-47B71F33D2FE}"/>
              </a:ext>
            </a:extLst>
          </p:cNvPr>
          <p:cNvSpPr/>
          <p:nvPr userDrawn="1"/>
        </p:nvSpPr>
        <p:spPr>
          <a:xfrm rot="900000">
            <a:off x="10213216" y="2788075"/>
            <a:ext cx="964664" cy="4267468"/>
          </a:xfrm>
          <a:custGeom>
            <a:avLst/>
            <a:gdLst>
              <a:gd name="connsiteX0" fmla="*/ 385125 w 964664"/>
              <a:gd name="connsiteY0" fmla="*/ 9799 h 4267468"/>
              <a:gd name="connsiteX1" fmla="*/ 482332 w 964664"/>
              <a:gd name="connsiteY1" fmla="*/ 0 h 4267468"/>
              <a:gd name="connsiteX2" fmla="*/ 964664 w 964664"/>
              <a:gd name="connsiteY2" fmla="*/ 482332 h 4267468"/>
              <a:gd name="connsiteX3" fmla="*/ 964663 w 964664"/>
              <a:gd name="connsiteY3" fmla="*/ 4008987 h 4267468"/>
              <a:gd name="connsiteX4" fmla="*/ 0 w 964664"/>
              <a:gd name="connsiteY4" fmla="*/ 4267468 h 4267468"/>
              <a:gd name="connsiteX5" fmla="*/ 0 w 964664"/>
              <a:gd name="connsiteY5" fmla="*/ 482332 h 4267468"/>
              <a:gd name="connsiteX6" fmla="*/ 385125 w 964664"/>
              <a:gd name="connsiteY6" fmla="*/ 9799 h 4267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4664" h="4267468">
                <a:moveTo>
                  <a:pt x="385125" y="9799"/>
                </a:moveTo>
                <a:cubicBezTo>
                  <a:pt x="416524" y="3374"/>
                  <a:pt x="449033" y="0"/>
                  <a:pt x="482332" y="0"/>
                </a:cubicBezTo>
                <a:cubicBezTo>
                  <a:pt x="748717" y="0"/>
                  <a:pt x="964664" y="215947"/>
                  <a:pt x="964664" y="482332"/>
                </a:cubicBezTo>
                <a:lnTo>
                  <a:pt x="964663" y="4008987"/>
                </a:lnTo>
                <a:lnTo>
                  <a:pt x="0" y="4267468"/>
                </a:lnTo>
                <a:lnTo>
                  <a:pt x="0" y="482332"/>
                </a:lnTo>
                <a:cubicBezTo>
                  <a:pt x="0" y="249245"/>
                  <a:pt x="165334" y="54775"/>
                  <a:pt x="385125" y="979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F09451-D001-7FD7-10AE-3FDD420C1A42}"/>
              </a:ext>
            </a:extLst>
          </p:cNvPr>
          <p:cNvCxnSpPr>
            <a:cxnSpLocks/>
          </p:cNvCxnSpPr>
          <p:nvPr userDrawn="1"/>
        </p:nvCxnSpPr>
        <p:spPr>
          <a:xfrm flipH="1">
            <a:off x="9810345" y="1"/>
            <a:ext cx="1794438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1C1E0A2-F05B-FF80-96D1-66F6D9FFBB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27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410B0EB-E78B-47EB-B746-DF4F9CE6FA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87E6CA8-2AEE-4396-8AD7-E49BA481362D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D2E643D-7E04-4396-BE94-A4BBD6E9FA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2356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9141FD9-B1AB-9467-AE12-61BD0B9D32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BA3E6B8-401F-4894-EFB9-D9735958D8E8}"/>
              </a:ext>
            </a:extLst>
          </p:cNvPr>
          <p:cNvSpPr/>
          <p:nvPr userDrawn="1"/>
        </p:nvSpPr>
        <p:spPr>
          <a:xfrm rot="2700000">
            <a:off x="9723652" y="4718086"/>
            <a:ext cx="1514141" cy="3134243"/>
          </a:xfrm>
          <a:custGeom>
            <a:avLst/>
            <a:gdLst>
              <a:gd name="connsiteX0" fmla="*/ 0 w 1514141"/>
              <a:gd name="connsiteY0" fmla="*/ 1514140 h 3134243"/>
              <a:gd name="connsiteX1" fmla="*/ 1514140 w 1514141"/>
              <a:gd name="connsiteY1" fmla="*/ 0 h 3134243"/>
              <a:gd name="connsiteX2" fmla="*/ 1514141 w 1514141"/>
              <a:gd name="connsiteY2" fmla="*/ 1620102 h 3134243"/>
              <a:gd name="connsiteX3" fmla="*/ 0 w 1514141"/>
              <a:gd name="connsiteY3" fmla="*/ 3134243 h 3134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141" h="3134243">
                <a:moveTo>
                  <a:pt x="0" y="1514140"/>
                </a:moveTo>
                <a:lnTo>
                  <a:pt x="1514140" y="0"/>
                </a:lnTo>
                <a:lnTo>
                  <a:pt x="1514141" y="1620102"/>
                </a:lnTo>
                <a:lnTo>
                  <a:pt x="0" y="3134243"/>
                </a:ln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0B254E66-5B23-8376-EA6C-51BA078AD05B}"/>
              </a:ext>
            </a:extLst>
          </p:cNvPr>
          <p:cNvSpPr/>
          <p:nvPr userDrawn="1"/>
        </p:nvSpPr>
        <p:spPr>
          <a:xfrm rot="13500000">
            <a:off x="9484269" y="5130635"/>
            <a:ext cx="651476" cy="14478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/>
          <p:nvPr userDrawn="1"/>
        </p:nvSpPr>
        <p:spPr>
          <a:xfrm rot="2700000">
            <a:off x="8432799" y="-404009"/>
            <a:ext cx="1987250" cy="652218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D3108861-7328-DB12-4F81-BB23B928A631}"/>
              </a:ext>
            </a:extLst>
          </p:cNvPr>
          <p:cNvSpPr/>
          <p:nvPr userDrawn="1"/>
        </p:nvSpPr>
        <p:spPr>
          <a:xfrm rot="2700000">
            <a:off x="9121183" y="103638"/>
            <a:ext cx="651476" cy="2492719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3CF0F-9A82-87BC-E359-747ED7A2C5ED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EF0DFE2A-76D5-74DB-5A41-BA634A097E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8470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02D114-3397-DC1A-7731-F1F0FFF234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8470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C279139-E1CD-417D-F2DC-0ECDF9271B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9834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795ADEF-DFE7-7A95-ACDE-93A739BB8442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BE79103-E87B-C357-DC48-0711CA04F4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69100" y="1511300"/>
            <a:ext cx="5422900" cy="42672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3702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5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BD574E3-8AFF-DFA9-0FCB-ACE4DACD2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69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574E3-8AFF-DFA9-0FCB-ACE4DACD2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5368925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5482392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368925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74DE7C-EAB9-6B9B-19AB-DEFA4EF622D3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24A7E03-2DC4-A20C-610D-3801615F1648}"/>
              </a:ext>
            </a:extLst>
          </p:cNvPr>
          <p:cNvSpPr>
            <a:spLocks/>
          </p:cNvSpPr>
          <p:nvPr userDrawn="1"/>
        </p:nvSpPr>
        <p:spPr bwMode="auto">
          <a:xfrm>
            <a:off x="5476875" y="3219450"/>
            <a:ext cx="6711950" cy="3638550"/>
          </a:xfrm>
          <a:custGeom>
            <a:avLst/>
            <a:gdLst>
              <a:gd name="T0" fmla="*/ 2114 w 2114"/>
              <a:gd name="T1" fmla="*/ 869 h 1146"/>
              <a:gd name="T2" fmla="*/ 1306 w 2114"/>
              <a:gd name="T3" fmla="*/ 61 h 1146"/>
              <a:gd name="T4" fmla="*/ 1085 w 2114"/>
              <a:gd name="T5" fmla="*/ 61 h 1146"/>
              <a:gd name="T6" fmla="*/ 0 w 2114"/>
              <a:gd name="T7" fmla="*/ 1146 h 1146"/>
              <a:gd name="T8" fmla="*/ 2114 w 2114"/>
              <a:gd name="T9" fmla="*/ 1146 h 1146"/>
              <a:gd name="T10" fmla="*/ 2114 w 2114"/>
              <a:gd name="T11" fmla="*/ 869 h 1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14" h="1146">
                <a:moveTo>
                  <a:pt x="2114" y="869"/>
                </a:moveTo>
                <a:cubicBezTo>
                  <a:pt x="1306" y="61"/>
                  <a:pt x="1306" y="61"/>
                  <a:pt x="1306" y="61"/>
                </a:cubicBezTo>
                <a:cubicBezTo>
                  <a:pt x="1245" y="0"/>
                  <a:pt x="1146" y="0"/>
                  <a:pt x="1085" y="61"/>
                </a:cubicBezTo>
                <a:cubicBezTo>
                  <a:pt x="0" y="1146"/>
                  <a:pt x="0" y="1146"/>
                  <a:pt x="0" y="1146"/>
                </a:cubicBezTo>
                <a:cubicBezTo>
                  <a:pt x="2114" y="1146"/>
                  <a:pt x="2114" y="1146"/>
                  <a:pt x="2114" y="1146"/>
                </a:cubicBezTo>
                <a:lnTo>
                  <a:pt x="2114" y="869"/>
                </a:ln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85C50D-2AD0-37F1-6186-64FDA03CDB34}"/>
              </a:ext>
            </a:extLst>
          </p:cNvPr>
          <p:cNvSpPr/>
          <p:nvPr userDrawn="1"/>
        </p:nvSpPr>
        <p:spPr>
          <a:xfrm rot="2700000">
            <a:off x="7798710" y="-28189"/>
            <a:ext cx="6936059" cy="4323614"/>
          </a:xfrm>
          <a:custGeom>
            <a:avLst/>
            <a:gdLst>
              <a:gd name="connsiteX0" fmla="*/ 0 w 6936059"/>
              <a:gd name="connsiteY0" fmla="*/ 2612445 h 4323614"/>
              <a:gd name="connsiteX1" fmla="*/ 2612445 w 6936059"/>
              <a:gd name="connsiteY1" fmla="*/ 0 h 4323614"/>
              <a:gd name="connsiteX2" fmla="*/ 6936059 w 6936059"/>
              <a:gd name="connsiteY2" fmla="*/ 4323614 h 4323614"/>
              <a:gd name="connsiteX3" fmla="*/ 492439 w 6936059"/>
              <a:gd name="connsiteY3" fmla="*/ 4323614 h 4323614"/>
              <a:gd name="connsiteX4" fmla="*/ 0 w 6936059"/>
              <a:gd name="connsiteY4" fmla="*/ 3831175 h 432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6059" h="4323614">
                <a:moveTo>
                  <a:pt x="0" y="2612445"/>
                </a:moveTo>
                <a:lnTo>
                  <a:pt x="2612445" y="0"/>
                </a:lnTo>
                <a:lnTo>
                  <a:pt x="6936059" y="4323614"/>
                </a:lnTo>
                <a:lnTo>
                  <a:pt x="492439" y="4323614"/>
                </a:lnTo>
                <a:cubicBezTo>
                  <a:pt x="220472" y="4323614"/>
                  <a:pt x="1" y="4103142"/>
                  <a:pt x="0" y="3831175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FF7F7C58-163F-1881-E4D5-96FE1EF56D83}"/>
              </a:ext>
            </a:extLst>
          </p:cNvPr>
          <p:cNvSpPr>
            <a:spLocks/>
          </p:cNvSpPr>
          <p:nvPr userDrawn="1"/>
        </p:nvSpPr>
        <p:spPr bwMode="auto">
          <a:xfrm>
            <a:off x="6511925" y="737524"/>
            <a:ext cx="5368925" cy="5368925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rgbClr val="005587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B7ADD5B-1EFD-EE84-83C7-4F7CA369A2B9}"/>
              </a:ext>
            </a:extLst>
          </p:cNvPr>
          <p:cNvSpPr/>
          <p:nvPr userDrawn="1"/>
        </p:nvSpPr>
        <p:spPr>
          <a:xfrm rot="2700000">
            <a:off x="9656180" y="878325"/>
            <a:ext cx="4632172" cy="5087323"/>
          </a:xfrm>
          <a:custGeom>
            <a:avLst/>
            <a:gdLst>
              <a:gd name="connsiteX0" fmla="*/ 0 w 4724357"/>
              <a:gd name="connsiteY0" fmla="*/ 0 h 4945592"/>
              <a:gd name="connsiteX1" fmla="*/ 4724357 w 4724357"/>
              <a:gd name="connsiteY1" fmla="*/ 4724357 h 4945592"/>
              <a:gd name="connsiteX2" fmla="*/ 4503122 w 4724357"/>
              <a:gd name="connsiteY2" fmla="*/ 4945592 h 4945592"/>
              <a:gd name="connsiteX3" fmla="*/ 607510 w 4724357"/>
              <a:gd name="connsiteY3" fmla="*/ 4945592 h 4945592"/>
              <a:gd name="connsiteX4" fmla="*/ 0 w 4724357"/>
              <a:gd name="connsiteY4" fmla="*/ 4338082 h 4945592"/>
              <a:gd name="connsiteX0" fmla="*/ 4724357 w 4815797"/>
              <a:gd name="connsiteY0" fmla="*/ 4724357 h 4945592"/>
              <a:gd name="connsiteX1" fmla="*/ 4503122 w 4815797"/>
              <a:gd name="connsiteY1" fmla="*/ 4945592 h 4945592"/>
              <a:gd name="connsiteX2" fmla="*/ 607510 w 4815797"/>
              <a:gd name="connsiteY2" fmla="*/ 4945592 h 4945592"/>
              <a:gd name="connsiteX3" fmla="*/ 0 w 4815797"/>
              <a:gd name="connsiteY3" fmla="*/ 4338082 h 4945592"/>
              <a:gd name="connsiteX4" fmla="*/ 0 w 4815797"/>
              <a:gd name="connsiteY4" fmla="*/ 0 h 4945592"/>
              <a:gd name="connsiteX5" fmla="*/ 4815797 w 4815797"/>
              <a:gd name="connsiteY5" fmla="*/ 4815797 h 4945592"/>
              <a:gd name="connsiteX0" fmla="*/ 4724357 w 4724357"/>
              <a:gd name="connsiteY0" fmla="*/ 4724357 h 4945592"/>
              <a:gd name="connsiteX1" fmla="*/ 4503122 w 4724357"/>
              <a:gd name="connsiteY1" fmla="*/ 4945592 h 4945592"/>
              <a:gd name="connsiteX2" fmla="*/ 607510 w 4724357"/>
              <a:gd name="connsiteY2" fmla="*/ 4945592 h 4945592"/>
              <a:gd name="connsiteX3" fmla="*/ 0 w 4724357"/>
              <a:gd name="connsiteY3" fmla="*/ 4338082 h 4945592"/>
              <a:gd name="connsiteX4" fmla="*/ 0 w 4724357"/>
              <a:gd name="connsiteY4" fmla="*/ 0 h 4945592"/>
              <a:gd name="connsiteX0" fmla="*/ 4503122 w 4503122"/>
              <a:gd name="connsiteY0" fmla="*/ 4945592 h 4945592"/>
              <a:gd name="connsiteX1" fmla="*/ 607510 w 4503122"/>
              <a:gd name="connsiteY1" fmla="*/ 4945592 h 4945592"/>
              <a:gd name="connsiteX2" fmla="*/ 0 w 4503122"/>
              <a:gd name="connsiteY2" fmla="*/ 4338082 h 4945592"/>
              <a:gd name="connsiteX3" fmla="*/ 0 w 4503122"/>
              <a:gd name="connsiteY3" fmla="*/ 0 h 494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3122" h="4945592">
                <a:moveTo>
                  <a:pt x="4503122" y="4945592"/>
                </a:moveTo>
                <a:lnTo>
                  <a:pt x="607510" y="4945592"/>
                </a:lnTo>
                <a:cubicBezTo>
                  <a:pt x="271991" y="4945592"/>
                  <a:pt x="0" y="4673601"/>
                  <a:pt x="0" y="4338082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03610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F39C5FB-65B4-C908-855D-2728400F9E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25B56EBA-448E-C7D0-100C-AD7974D3F9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7029069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952327-FD57-A506-881F-6BEC092B82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7029069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5258D62-E26A-940F-71AE-1DB6692774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06884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6E6678B-F1D2-BAA4-8C13-157EDC2579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DB5FAB4-46B6-F50F-3686-3A652C917D56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E6A72EF-4ACE-0FB5-78CD-8CB5D25D38CD}"/>
              </a:ext>
            </a:extLst>
          </p:cNvPr>
          <p:cNvSpPr/>
          <p:nvPr userDrawn="1"/>
        </p:nvSpPr>
        <p:spPr>
          <a:xfrm rot="900000">
            <a:off x="8679642" y="590047"/>
            <a:ext cx="1209408" cy="6535813"/>
          </a:xfrm>
          <a:custGeom>
            <a:avLst/>
            <a:gdLst>
              <a:gd name="connsiteX0" fmla="*/ 482835 w 1209408"/>
              <a:gd name="connsiteY0" fmla="*/ 12286 h 6535813"/>
              <a:gd name="connsiteX1" fmla="*/ 604704 w 1209408"/>
              <a:gd name="connsiteY1" fmla="*/ 0 h 6535813"/>
              <a:gd name="connsiteX2" fmla="*/ 1209408 w 1209408"/>
              <a:gd name="connsiteY2" fmla="*/ 604704 h 6535813"/>
              <a:gd name="connsiteX3" fmla="*/ 1209408 w 1209408"/>
              <a:gd name="connsiteY3" fmla="*/ 6211754 h 6535813"/>
              <a:gd name="connsiteX4" fmla="*/ 0 w 1209408"/>
              <a:gd name="connsiteY4" fmla="*/ 6535813 h 6535813"/>
              <a:gd name="connsiteX5" fmla="*/ 0 w 1209408"/>
              <a:gd name="connsiteY5" fmla="*/ 604704 h 6535813"/>
              <a:gd name="connsiteX6" fmla="*/ 482835 w 1209408"/>
              <a:gd name="connsiteY6" fmla="*/ 12286 h 653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9408" h="6535813">
                <a:moveTo>
                  <a:pt x="482835" y="12286"/>
                </a:moveTo>
                <a:cubicBezTo>
                  <a:pt x="522200" y="4230"/>
                  <a:pt x="562958" y="0"/>
                  <a:pt x="604704" y="0"/>
                </a:cubicBezTo>
                <a:cubicBezTo>
                  <a:pt x="938673" y="0"/>
                  <a:pt x="1209408" y="270735"/>
                  <a:pt x="1209408" y="604704"/>
                </a:cubicBezTo>
                <a:lnTo>
                  <a:pt x="1209408" y="6211754"/>
                </a:lnTo>
                <a:lnTo>
                  <a:pt x="0" y="6535813"/>
                </a:lnTo>
                <a:lnTo>
                  <a:pt x="0" y="604704"/>
                </a:lnTo>
                <a:cubicBezTo>
                  <a:pt x="0" y="312481"/>
                  <a:pt x="207282" y="68672"/>
                  <a:pt x="482835" y="12286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A260F01-821A-E0DB-A6B1-B66100FC4906}"/>
              </a:ext>
            </a:extLst>
          </p:cNvPr>
          <p:cNvSpPr/>
          <p:nvPr userDrawn="1"/>
        </p:nvSpPr>
        <p:spPr>
          <a:xfrm rot="900000">
            <a:off x="10876535" y="3369355"/>
            <a:ext cx="737236" cy="3646170"/>
          </a:xfrm>
          <a:custGeom>
            <a:avLst/>
            <a:gdLst>
              <a:gd name="connsiteX0" fmla="*/ 294329 w 737236"/>
              <a:gd name="connsiteY0" fmla="*/ 7489 h 3646170"/>
              <a:gd name="connsiteX1" fmla="*/ 368618 w 737236"/>
              <a:gd name="connsiteY1" fmla="*/ 0 h 3646170"/>
              <a:gd name="connsiteX2" fmla="*/ 737236 w 737236"/>
              <a:gd name="connsiteY2" fmla="*/ 368618 h 3646170"/>
              <a:gd name="connsiteX3" fmla="*/ 737235 w 737236"/>
              <a:gd name="connsiteY3" fmla="*/ 3448629 h 3646170"/>
              <a:gd name="connsiteX4" fmla="*/ 0 w 737236"/>
              <a:gd name="connsiteY4" fmla="*/ 3646170 h 3646170"/>
              <a:gd name="connsiteX5" fmla="*/ 0 w 737236"/>
              <a:gd name="connsiteY5" fmla="*/ 368618 h 3646170"/>
              <a:gd name="connsiteX6" fmla="*/ 294329 w 737236"/>
              <a:gd name="connsiteY6" fmla="*/ 7489 h 364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7236" h="3646170">
                <a:moveTo>
                  <a:pt x="294329" y="7489"/>
                </a:moveTo>
                <a:cubicBezTo>
                  <a:pt x="318325" y="2579"/>
                  <a:pt x="343170" y="0"/>
                  <a:pt x="368618" y="0"/>
                </a:cubicBezTo>
                <a:cubicBezTo>
                  <a:pt x="572200" y="0"/>
                  <a:pt x="737236" y="165036"/>
                  <a:pt x="737236" y="368618"/>
                </a:cubicBezTo>
                <a:lnTo>
                  <a:pt x="737235" y="3448629"/>
                </a:lnTo>
                <a:lnTo>
                  <a:pt x="0" y="3646170"/>
                </a:lnTo>
                <a:lnTo>
                  <a:pt x="0" y="368618"/>
                </a:lnTo>
                <a:cubicBezTo>
                  <a:pt x="1" y="190484"/>
                  <a:pt x="126356" y="41861"/>
                  <a:pt x="294329" y="748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7CF9C9-26E4-4CCA-2489-EA1403AF749A}"/>
              </a:ext>
            </a:extLst>
          </p:cNvPr>
          <p:cNvCxnSpPr>
            <a:cxnSpLocks/>
          </p:cNvCxnSpPr>
          <p:nvPr userDrawn="1"/>
        </p:nvCxnSpPr>
        <p:spPr>
          <a:xfrm rot="900000" flipH="1">
            <a:off x="9695751" y="-132832"/>
            <a:ext cx="0" cy="711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6662C6-F32D-D286-E981-FFF7563738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16112" y="990600"/>
            <a:ext cx="1572166" cy="58674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458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F44744A-7370-45C0-CB74-88A57CF6C18C}"/>
              </a:ext>
            </a:extLst>
          </p:cNvPr>
          <p:cNvSpPr/>
          <p:nvPr userDrawn="1"/>
        </p:nvSpPr>
        <p:spPr>
          <a:xfrm rot="2700000">
            <a:off x="8404848" y="-676776"/>
            <a:ext cx="832104" cy="2612447"/>
          </a:xfrm>
          <a:custGeom>
            <a:avLst/>
            <a:gdLst>
              <a:gd name="connsiteX0" fmla="*/ 0 w 832104"/>
              <a:gd name="connsiteY0" fmla="*/ 832103 h 2612447"/>
              <a:gd name="connsiteX1" fmla="*/ 832104 w 832104"/>
              <a:gd name="connsiteY1" fmla="*/ 0 h 2612447"/>
              <a:gd name="connsiteX2" fmla="*/ 832104 w 832104"/>
              <a:gd name="connsiteY2" fmla="*/ 2196395 h 2612447"/>
              <a:gd name="connsiteX3" fmla="*/ 416052 w 832104"/>
              <a:gd name="connsiteY3" fmla="*/ 2612447 h 2612447"/>
              <a:gd name="connsiteX4" fmla="*/ 0 w 832104"/>
              <a:gd name="connsiteY4" fmla="*/ 2196395 h 261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2104" h="2612447">
                <a:moveTo>
                  <a:pt x="0" y="832103"/>
                </a:moveTo>
                <a:lnTo>
                  <a:pt x="832104" y="0"/>
                </a:lnTo>
                <a:lnTo>
                  <a:pt x="832104" y="2196395"/>
                </a:lnTo>
                <a:cubicBezTo>
                  <a:pt x="832104" y="2426174"/>
                  <a:pt x="645831" y="2612447"/>
                  <a:pt x="416052" y="2612447"/>
                </a:cubicBezTo>
                <a:cubicBezTo>
                  <a:pt x="186273" y="2612447"/>
                  <a:pt x="0" y="2426174"/>
                  <a:pt x="0" y="2196395"/>
                </a:cubicBez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EF4E02D-F7F2-65BC-9A85-BBCF1CEAB9A4}"/>
              </a:ext>
            </a:extLst>
          </p:cNvPr>
          <p:cNvSpPr/>
          <p:nvPr userDrawn="1"/>
        </p:nvSpPr>
        <p:spPr>
          <a:xfrm rot="13500000" flipH="1">
            <a:off x="10884124" y="1958347"/>
            <a:ext cx="1426821" cy="2469493"/>
          </a:xfrm>
          <a:custGeom>
            <a:avLst/>
            <a:gdLst>
              <a:gd name="connsiteX0" fmla="*/ 0 w 1867898"/>
              <a:gd name="connsiteY0" fmla="*/ 3232895 h 3232895"/>
              <a:gd name="connsiteX1" fmla="*/ 0 w 1867898"/>
              <a:gd name="connsiteY1" fmla="*/ 933949 h 3232895"/>
              <a:gd name="connsiteX2" fmla="*/ 933949 w 1867898"/>
              <a:gd name="connsiteY2" fmla="*/ 0 h 3232895"/>
              <a:gd name="connsiteX3" fmla="*/ 1867898 w 1867898"/>
              <a:gd name="connsiteY3" fmla="*/ 933949 h 3232895"/>
              <a:gd name="connsiteX4" fmla="*/ 1867898 w 1867898"/>
              <a:gd name="connsiteY4" fmla="*/ 1797199 h 3232895"/>
              <a:gd name="connsiteX5" fmla="*/ 432202 w 1867898"/>
              <a:gd name="connsiteY5" fmla="*/ 3232895 h 3232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67898" h="3232895">
                <a:moveTo>
                  <a:pt x="0" y="3232895"/>
                </a:moveTo>
                <a:lnTo>
                  <a:pt x="0" y="933949"/>
                </a:lnTo>
                <a:cubicBezTo>
                  <a:pt x="0" y="418143"/>
                  <a:pt x="418143" y="0"/>
                  <a:pt x="933949" y="0"/>
                </a:cubicBezTo>
                <a:cubicBezTo>
                  <a:pt x="1449755" y="0"/>
                  <a:pt x="1867898" y="418143"/>
                  <a:pt x="1867898" y="933949"/>
                </a:cubicBezTo>
                <a:lnTo>
                  <a:pt x="1867898" y="1797199"/>
                </a:lnTo>
                <a:lnTo>
                  <a:pt x="432202" y="32328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C069A87-C164-C434-5CEF-4ACD0B6BF8B1}"/>
              </a:ext>
            </a:extLst>
          </p:cNvPr>
          <p:cNvSpPr/>
          <p:nvPr userDrawn="1"/>
        </p:nvSpPr>
        <p:spPr>
          <a:xfrm rot="13500000" flipH="1">
            <a:off x="10658974" y="1045214"/>
            <a:ext cx="830027" cy="4013802"/>
          </a:xfrm>
          <a:custGeom>
            <a:avLst/>
            <a:gdLst>
              <a:gd name="connsiteX0" fmla="*/ 0 w 1086616"/>
              <a:gd name="connsiteY0" fmla="*/ 5254600 h 5254600"/>
              <a:gd name="connsiteX1" fmla="*/ 0 w 1086616"/>
              <a:gd name="connsiteY1" fmla="*/ 543308 h 5254600"/>
              <a:gd name="connsiteX2" fmla="*/ 543308 w 1086616"/>
              <a:gd name="connsiteY2" fmla="*/ 0 h 5254600"/>
              <a:gd name="connsiteX3" fmla="*/ 1086616 w 1086616"/>
              <a:gd name="connsiteY3" fmla="*/ 543308 h 5254600"/>
              <a:gd name="connsiteX4" fmla="*/ 1086615 w 1086616"/>
              <a:gd name="connsiteY4" fmla="*/ 4167985 h 525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616" h="5254600">
                <a:moveTo>
                  <a:pt x="0" y="5254600"/>
                </a:moveTo>
                <a:lnTo>
                  <a:pt x="0" y="543308"/>
                </a:lnTo>
                <a:cubicBezTo>
                  <a:pt x="0" y="243247"/>
                  <a:pt x="243247" y="0"/>
                  <a:pt x="543308" y="0"/>
                </a:cubicBezTo>
                <a:cubicBezTo>
                  <a:pt x="843369" y="0"/>
                  <a:pt x="1086616" y="243247"/>
                  <a:pt x="1086616" y="543308"/>
                </a:cubicBezTo>
                <a:lnTo>
                  <a:pt x="1086615" y="41679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8AFE06D-6874-9BC8-8B4C-CD00FFBB1819}"/>
              </a:ext>
            </a:extLst>
          </p:cNvPr>
          <p:cNvSpPr/>
          <p:nvPr userDrawn="1"/>
        </p:nvSpPr>
        <p:spPr>
          <a:xfrm rot="13500000" flipH="1">
            <a:off x="8610866" y="-919718"/>
            <a:ext cx="3320094" cy="4877247"/>
          </a:xfrm>
          <a:custGeom>
            <a:avLst/>
            <a:gdLst>
              <a:gd name="connsiteX0" fmla="*/ 2551539 w 4346444"/>
              <a:gd name="connsiteY0" fmla="*/ 6384965 h 6384965"/>
              <a:gd name="connsiteX1" fmla="*/ 0 w 4346444"/>
              <a:gd name="connsiteY1" fmla="*/ 3833426 h 6384965"/>
              <a:gd name="connsiteX2" fmla="*/ 0 w 4346444"/>
              <a:gd name="connsiteY2" fmla="*/ 2173222 h 6384965"/>
              <a:gd name="connsiteX3" fmla="*/ 2173222 w 4346444"/>
              <a:gd name="connsiteY3" fmla="*/ 0 h 6384965"/>
              <a:gd name="connsiteX4" fmla="*/ 4346444 w 4346444"/>
              <a:gd name="connsiteY4" fmla="*/ 2173222 h 6384965"/>
              <a:gd name="connsiteX5" fmla="*/ 4346444 w 4346444"/>
              <a:gd name="connsiteY5" fmla="*/ 4590060 h 6384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46444" h="6384965">
                <a:moveTo>
                  <a:pt x="2551539" y="6384965"/>
                </a:moveTo>
                <a:lnTo>
                  <a:pt x="0" y="3833426"/>
                </a:lnTo>
                <a:lnTo>
                  <a:pt x="0" y="2173222"/>
                </a:lnTo>
                <a:cubicBezTo>
                  <a:pt x="0" y="972985"/>
                  <a:pt x="972985" y="0"/>
                  <a:pt x="2173222" y="0"/>
                </a:cubicBezTo>
                <a:cubicBezTo>
                  <a:pt x="3373459" y="0"/>
                  <a:pt x="4346444" y="972985"/>
                  <a:pt x="4346444" y="2173222"/>
                </a:cubicBezTo>
                <a:lnTo>
                  <a:pt x="4346444" y="45900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405D1E-7C07-65A2-75A2-7E9EF6B6049B}"/>
              </a:ext>
            </a:extLst>
          </p:cNvPr>
          <p:cNvSpPr/>
          <p:nvPr userDrawn="1"/>
        </p:nvSpPr>
        <p:spPr>
          <a:xfrm rot="13500000" flipH="1">
            <a:off x="11146606" y="1933863"/>
            <a:ext cx="527807" cy="2759754"/>
          </a:xfrm>
          <a:custGeom>
            <a:avLst/>
            <a:gdLst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0 w 690970"/>
              <a:gd name="connsiteY6" fmla="*/ 361288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123701 w 690970"/>
              <a:gd name="connsiteY6" fmla="*/ 3489184 h 3612885"/>
              <a:gd name="connsiteX7" fmla="*/ 0 w 690970"/>
              <a:gd name="connsiteY7" fmla="*/ 3612885 h 3612885"/>
              <a:gd name="connsiteX0" fmla="*/ 123701 w 690970"/>
              <a:gd name="connsiteY0" fmla="*/ 3489184 h 3612885"/>
              <a:gd name="connsiteX1" fmla="*/ 0 w 690970"/>
              <a:gd name="connsiteY1" fmla="*/ 3612885 h 3612885"/>
              <a:gd name="connsiteX2" fmla="*/ 0 w 690970"/>
              <a:gd name="connsiteY2" fmla="*/ 345485 h 3612885"/>
              <a:gd name="connsiteX3" fmla="*/ 345485 w 690970"/>
              <a:gd name="connsiteY3" fmla="*/ 0 h 3612885"/>
              <a:gd name="connsiteX4" fmla="*/ 690970 w 690970"/>
              <a:gd name="connsiteY4" fmla="*/ 345485 h 3612885"/>
              <a:gd name="connsiteX5" fmla="*/ 690970 w 690970"/>
              <a:gd name="connsiteY5" fmla="*/ 2921915 h 3612885"/>
              <a:gd name="connsiteX6" fmla="*/ 572714 w 690970"/>
              <a:gd name="connsiteY6" fmla="*/ 3040171 h 3612885"/>
              <a:gd name="connsiteX7" fmla="*/ 215141 w 690970"/>
              <a:gd name="connsiteY7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215141 w 690970"/>
              <a:gd name="connsiteY6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215141 w 690970"/>
              <a:gd name="connsiteY5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970" h="3612885">
                <a:moveTo>
                  <a:pt x="0" y="3612885"/>
                </a:moveTo>
                <a:lnTo>
                  <a:pt x="0" y="345485"/>
                </a:lnTo>
                <a:cubicBezTo>
                  <a:pt x="0" y="154679"/>
                  <a:pt x="154679" y="0"/>
                  <a:pt x="345485" y="0"/>
                </a:cubicBezTo>
                <a:cubicBezTo>
                  <a:pt x="536291" y="0"/>
                  <a:pt x="690970" y="154679"/>
                  <a:pt x="690970" y="345485"/>
                </a:cubicBezTo>
                <a:lnTo>
                  <a:pt x="690970" y="2921915"/>
                </a:ln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15720612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7711C25-1E32-D856-3159-AA194B0AE59F}"/>
              </a:ext>
            </a:extLst>
          </p:cNvPr>
          <p:cNvSpPr/>
          <p:nvPr userDrawn="1"/>
        </p:nvSpPr>
        <p:spPr>
          <a:xfrm rot="-2700000">
            <a:off x="7890787" y="-1101899"/>
            <a:ext cx="3375142" cy="3358615"/>
          </a:xfrm>
          <a:custGeom>
            <a:avLst/>
            <a:gdLst>
              <a:gd name="connsiteX0" fmla="*/ 824841 w 3375142"/>
              <a:gd name="connsiteY0" fmla="*/ 0 h 3358615"/>
              <a:gd name="connsiteX1" fmla="*/ 3375142 w 3375142"/>
              <a:gd name="connsiteY1" fmla="*/ 2550301 h 3358615"/>
              <a:gd name="connsiteX2" fmla="*/ 3375142 w 3375142"/>
              <a:gd name="connsiteY2" fmla="*/ 2834570 h 3358615"/>
              <a:gd name="connsiteX3" fmla="*/ 2851097 w 3375142"/>
              <a:gd name="connsiteY3" fmla="*/ 3358615 h 3358615"/>
              <a:gd name="connsiteX4" fmla="*/ 524045 w 3375142"/>
              <a:gd name="connsiteY4" fmla="*/ 3358615 h 3358615"/>
              <a:gd name="connsiteX5" fmla="*/ 0 w 3375142"/>
              <a:gd name="connsiteY5" fmla="*/ 2834570 h 3358615"/>
              <a:gd name="connsiteX6" fmla="*/ 0 w 3375142"/>
              <a:gd name="connsiteY6" fmla="*/ 524045 h 3358615"/>
              <a:gd name="connsiteX7" fmla="*/ 524045 w 3375142"/>
              <a:gd name="connsiteY7" fmla="*/ 0 h 3358615"/>
              <a:gd name="connsiteX0" fmla="*/ 3375142 w 3466582"/>
              <a:gd name="connsiteY0" fmla="*/ 2550301 h 3358615"/>
              <a:gd name="connsiteX1" fmla="*/ 3375142 w 3466582"/>
              <a:gd name="connsiteY1" fmla="*/ 2834570 h 3358615"/>
              <a:gd name="connsiteX2" fmla="*/ 2851097 w 3466582"/>
              <a:gd name="connsiteY2" fmla="*/ 3358615 h 3358615"/>
              <a:gd name="connsiteX3" fmla="*/ 524045 w 3466582"/>
              <a:gd name="connsiteY3" fmla="*/ 3358615 h 3358615"/>
              <a:gd name="connsiteX4" fmla="*/ 0 w 3466582"/>
              <a:gd name="connsiteY4" fmla="*/ 2834570 h 3358615"/>
              <a:gd name="connsiteX5" fmla="*/ 0 w 3466582"/>
              <a:gd name="connsiteY5" fmla="*/ 524045 h 3358615"/>
              <a:gd name="connsiteX6" fmla="*/ 524045 w 3466582"/>
              <a:gd name="connsiteY6" fmla="*/ 0 h 3358615"/>
              <a:gd name="connsiteX7" fmla="*/ 824841 w 3466582"/>
              <a:gd name="connsiteY7" fmla="*/ 0 h 3358615"/>
              <a:gd name="connsiteX8" fmla="*/ 3466582 w 3466582"/>
              <a:gd name="connsiteY8" fmla="*/ 2641741 h 3358615"/>
              <a:gd name="connsiteX0" fmla="*/ 3375142 w 3375142"/>
              <a:gd name="connsiteY0" fmla="*/ 2550301 h 3358615"/>
              <a:gd name="connsiteX1" fmla="*/ 3375142 w 3375142"/>
              <a:gd name="connsiteY1" fmla="*/ 2834570 h 3358615"/>
              <a:gd name="connsiteX2" fmla="*/ 2851097 w 3375142"/>
              <a:gd name="connsiteY2" fmla="*/ 3358615 h 3358615"/>
              <a:gd name="connsiteX3" fmla="*/ 524045 w 3375142"/>
              <a:gd name="connsiteY3" fmla="*/ 3358615 h 3358615"/>
              <a:gd name="connsiteX4" fmla="*/ 0 w 3375142"/>
              <a:gd name="connsiteY4" fmla="*/ 2834570 h 3358615"/>
              <a:gd name="connsiteX5" fmla="*/ 0 w 3375142"/>
              <a:gd name="connsiteY5" fmla="*/ 524045 h 3358615"/>
              <a:gd name="connsiteX6" fmla="*/ 524045 w 3375142"/>
              <a:gd name="connsiteY6" fmla="*/ 0 h 3358615"/>
              <a:gd name="connsiteX7" fmla="*/ 824841 w 3375142"/>
              <a:gd name="connsiteY7" fmla="*/ 0 h 3358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75142" h="3358615">
                <a:moveTo>
                  <a:pt x="3375142" y="2550301"/>
                </a:moveTo>
                <a:lnTo>
                  <a:pt x="3375142" y="2834570"/>
                </a:lnTo>
                <a:cubicBezTo>
                  <a:pt x="3375142" y="3123992"/>
                  <a:pt x="3140519" y="3358615"/>
                  <a:pt x="2851097" y="3358615"/>
                </a:cubicBezTo>
                <a:lnTo>
                  <a:pt x="524045" y="3358615"/>
                </a:lnTo>
                <a:cubicBezTo>
                  <a:pt x="234623" y="3358615"/>
                  <a:pt x="0" y="3123992"/>
                  <a:pt x="0" y="2834570"/>
                </a:cubicBezTo>
                <a:lnTo>
                  <a:pt x="0" y="524045"/>
                </a:lnTo>
                <a:cubicBezTo>
                  <a:pt x="0" y="234623"/>
                  <a:pt x="234623" y="0"/>
                  <a:pt x="524045" y="0"/>
                </a:cubicBezTo>
                <a:lnTo>
                  <a:pt x="824841" y="0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C9A477D-265C-9608-FDB2-0CC08A6EB248}"/>
              </a:ext>
            </a:extLst>
          </p:cNvPr>
          <p:cNvSpPr/>
          <p:nvPr userDrawn="1"/>
        </p:nvSpPr>
        <p:spPr>
          <a:xfrm rot="-2700000">
            <a:off x="8628149" y="-1411464"/>
            <a:ext cx="3721275" cy="4628377"/>
          </a:xfrm>
          <a:custGeom>
            <a:avLst/>
            <a:gdLst>
              <a:gd name="connsiteX0" fmla="*/ 823095 w 3721275"/>
              <a:gd name="connsiteY0" fmla="*/ 0 h 4628377"/>
              <a:gd name="connsiteX1" fmla="*/ 3721275 w 3721275"/>
              <a:gd name="connsiteY1" fmla="*/ 2898181 h 4628377"/>
              <a:gd name="connsiteX2" fmla="*/ 1991079 w 3721275"/>
              <a:gd name="connsiteY2" fmla="*/ 4628377 h 4628377"/>
              <a:gd name="connsiteX3" fmla="*/ 648536 w 3721275"/>
              <a:gd name="connsiteY3" fmla="*/ 4628377 h 4628377"/>
              <a:gd name="connsiteX4" fmla="*/ 0 w 3721275"/>
              <a:gd name="connsiteY4" fmla="*/ 3979841 h 4628377"/>
              <a:gd name="connsiteX5" fmla="*/ 0 w 3721275"/>
              <a:gd name="connsiteY5" fmla="*/ 648536 h 4628377"/>
              <a:gd name="connsiteX6" fmla="*/ 648536 w 3721275"/>
              <a:gd name="connsiteY6" fmla="*/ 0 h 4628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21275" h="4628377">
                <a:moveTo>
                  <a:pt x="823095" y="0"/>
                </a:moveTo>
                <a:lnTo>
                  <a:pt x="3721275" y="2898181"/>
                </a:lnTo>
                <a:lnTo>
                  <a:pt x="1991079" y="4628377"/>
                </a:lnTo>
                <a:lnTo>
                  <a:pt x="648536" y="4628377"/>
                </a:lnTo>
                <a:cubicBezTo>
                  <a:pt x="290359" y="4628377"/>
                  <a:pt x="0" y="4338018"/>
                  <a:pt x="0" y="3979841"/>
                </a:cubicBezTo>
                <a:lnTo>
                  <a:pt x="0" y="648536"/>
                </a:lnTo>
                <a:cubicBezTo>
                  <a:pt x="0" y="290359"/>
                  <a:pt x="290359" y="0"/>
                  <a:pt x="64853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326933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3076B7C-F202-996E-7DFF-5D02CB251F3F}"/>
              </a:ext>
            </a:extLst>
          </p:cNvPr>
          <p:cNvSpPr/>
          <p:nvPr userDrawn="1"/>
        </p:nvSpPr>
        <p:spPr>
          <a:xfrm rot="2700000">
            <a:off x="10287508" y="-38027"/>
            <a:ext cx="2386306" cy="3251042"/>
          </a:xfrm>
          <a:custGeom>
            <a:avLst/>
            <a:gdLst>
              <a:gd name="connsiteX0" fmla="*/ 0 w 2386306"/>
              <a:gd name="connsiteY0" fmla="*/ 573618 h 3251042"/>
              <a:gd name="connsiteX1" fmla="*/ 573618 w 2386306"/>
              <a:gd name="connsiteY1" fmla="*/ 0 h 3251042"/>
              <a:gd name="connsiteX2" fmla="*/ 2386306 w 2386306"/>
              <a:gd name="connsiteY2" fmla="*/ 1812689 h 3251042"/>
              <a:gd name="connsiteX3" fmla="*/ 2386306 w 2386306"/>
              <a:gd name="connsiteY3" fmla="*/ 2894719 h 3251042"/>
              <a:gd name="connsiteX4" fmla="*/ 2029983 w 2386306"/>
              <a:gd name="connsiteY4" fmla="*/ 3251042 h 3251042"/>
              <a:gd name="connsiteX5" fmla="*/ 356323 w 2386306"/>
              <a:gd name="connsiteY5" fmla="*/ 3251042 h 3251042"/>
              <a:gd name="connsiteX6" fmla="*/ 0 w 2386306"/>
              <a:gd name="connsiteY6" fmla="*/ 2894719 h 3251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6306" h="3251042">
                <a:moveTo>
                  <a:pt x="0" y="573618"/>
                </a:moveTo>
                <a:lnTo>
                  <a:pt x="573618" y="0"/>
                </a:lnTo>
                <a:lnTo>
                  <a:pt x="2386306" y="1812689"/>
                </a:lnTo>
                <a:lnTo>
                  <a:pt x="2386306" y="2894719"/>
                </a:lnTo>
                <a:cubicBezTo>
                  <a:pt x="2386306" y="3091511"/>
                  <a:pt x="2226775" y="3251042"/>
                  <a:pt x="2029983" y="3251042"/>
                </a:cubicBezTo>
                <a:lnTo>
                  <a:pt x="356323" y="3251042"/>
                </a:lnTo>
                <a:cubicBezTo>
                  <a:pt x="159531" y="3251042"/>
                  <a:pt x="0" y="3091511"/>
                  <a:pt x="0" y="2894719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CF6A970-AE29-6F75-C4C8-B187F617CAEC}"/>
              </a:ext>
            </a:extLst>
          </p:cNvPr>
          <p:cNvSpPr/>
          <p:nvPr userDrawn="1"/>
        </p:nvSpPr>
        <p:spPr>
          <a:xfrm rot="2700000">
            <a:off x="10132011" y="1200350"/>
            <a:ext cx="2806378" cy="2807032"/>
          </a:xfrm>
          <a:custGeom>
            <a:avLst/>
            <a:gdLst>
              <a:gd name="connsiteX0" fmla="*/ 93508 w 2806378"/>
              <a:gd name="connsiteY0" fmla="*/ 93507 h 2807032"/>
              <a:gd name="connsiteX1" fmla="*/ 319254 w 2806378"/>
              <a:gd name="connsiteY1" fmla="*/ 0 h 2807032"/>
              <a:gd name="connsiteX2" fmla="*/ 928529 w 2806378"/>
              <a:gd name="connsiteY2" fmla="*/ 0 h 2807032"/>
              <a:gd name="connsiteX3" fmla="*/ 2806378 w 2806378"/>
              <a:gd name="connsiteY3" fmla="*/ 1877849 h 2807032"/>
              <a:gd name="connsiteX4" fmla="*/ 2806378 w 2806378"/>
              <a:gd name="connsiteY4" fmla="*/ 2487778 h 2807032"/>
              <a:gd name="connsiteX5" fmla="*/ 2487124 w 2806378"/>
              <a:gd name="connsiteY5" fmla="*/ 2807032 h 2807032"/>
              <a:gd name="connsiteX6" fmla="*/ 319254 w 2806378"/>
              <a:gd name="connsiteY6" fmla="*/ 2807032 h 2807032"/>
              <a:gd name="connsiteX7" fmla="*/ 0 w 2806378"/>
              <a:gd name="connsiteY7" fmla="*/ 2487778 h 2807032"/>
              <a:gd name="connsiteX8" fmla="*/ 0 w 2806378"/>
              <a:gd name="connsiteY8" fmla="*/ 319254 h 2807032"/>
              <a:gd name="connsiteX9" fmla="*/ 93508 w 2806378"/>
              <a:gd name="connsiteY9" fmla="*/ 93507 h 2807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06378" h="2807032">
                <a:moveTo>
                  <a:pt x="93508" y="93507"/>
                </a:moveTo>
                <a:cubicBezTo>
                  <a:pt x="151281" y="35733"/>
                  <a:pt x="231095" y="0"/>
                  <a:pt x="319254" y="0"/>
                </a:cubicBezTo>
                <a:lnTo>
                  <a:pt x="928529" y="0"/>
                </a:lnTo>
                <a:lnTo>
                  <a:pt x="2806378" y="1877849"/>
                </a:lnTo>
                <a:lnTo>
                  <a:pt x="2806378" y="2487778"/>
                </a:lnTo>
                <a:cubicBezTo>
                  <a:pt x="2806378" y="2664097"/>
                  <a:pt x="2663443" y="2807032"/>
                  <a:pt x="2487124" y="2807032"/>
                </a:cubicBezTo>
                <a:lnTo>
                  <a:pt x="319254" y="2807032"/>
                </a:lnTo>
                <a:cubicBezTo>
                  <a:pt x="142935" y="2807032"/>
                  <a:pt x="0" y="2664097"/>
                  <a:pt x="0" y="2487778"/>
                </a:cubicBezTo>
                <a:lnTo>
                  <a:pt x="0" y="319254"/>
                </a:lnTo>
                <a:cubicBezTo>
                  <a:pt x="0" y="231094"/>
                  <a:pt x="35734" y="151281"/>
                  <a:pt x="93508" y="9350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C595510-407A-9229-034C-83CA1804EAD4}"/>
              </a:ext>
            </a:extLst>
          </p:cNvPr>
          <p:cNvSpPr/>
          <p:nvPr userDrawn="1"/>
        </p:nvSpPr>
        <p:spPr>
          <a:xfrm rot="2700000">
            <a:off x="10839088" y="1250954"/>
            <a:ext cx="2705824" cy="2705824"/>
          </a:xfrm>
          <a:custGeom>
            <a:avLst/>
            <a:gdLst>
              <a:gd name="connsiteX0" fmla="*/ 0 w 2705824"/>
              <a:gd name="connsiteY0" fmla="*/ 0 h 2705824"/>
              <a:gd name="connsiteX1" fmla="*/ 2705824 w 2705824"/>
              <a:gd name="connsiteY1" fmla="*/ 2705824 h 2705824"/>
              <a:gd name="connsiteX2" fmla="*/ 306766 w 2705824"/>
              <a:gd name="connsiteY2" fmla="*/ 2705824 h 2705824"/>
              <a:gd name="connsiteX3" fmla="*/ 0 w 2705824"/>
              <a:gd name="connsiteY3" fmla="*/ 2399058 h 2705824"/>
              <a:gd name="connsiteX0" fmla="*/ 2705824 w 2797264"/>
              <a:gd name="connsiteY0" fmla="*/ 2705824 h 2797264"/>
              <a:gd name="connsiteX1" fmla="*/ 306766 w 2797264"/>
              <a:gd name="connsiteY1" fmla="*/ 2705824 h 2797264"/>
              <a:gd name="connsiteX2" fmla="*/ 0 w 2797264"/>
              <a:gd name="connsiteY2" fmla="*/ 2399058 h 2797264"/>
              <a:gd name="connsiteX3" fmla="*/ 0 w 2797264"/>
              <a:gd name="connsiteY3" fmla="*/ 0 h 2797264"/>
              <a:gd name="connsiteX4" fmla="*/ 2797264 w 2797264"/>
              <a:gd name="connsiteY4" fmla="*/ 2797264 h 2797264"/>
              <a:gd name="connsiteX0" fmla="*/ 2705824 w 2705824"/>
              <a:gd name="connsiteY0" fmla="*/ 2705824 h 2705824"/>
              <a:gd name="connsiteX1" fmla="*/ 306766 w 2705824"/>
              <a:gd name="connsiteY1" fmla="*/ 2705824 h 2705824"/>
              <a:gd name="connsiteX2" fmla="*/ 0 w 2705824"/>
              <a:gd name="connsiteY2" fmla="*/ 2399058 h 2705824"/>
              <a:gd name="connsiteX3" fmla="*/ 0 w 2705824"/>
              <a:gd name="connsiteY3" fmla="*/ 0 h 2705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05824" h="2705824">
                <a:moveTo>
                  <a:pt x="2705824" y="2705824"/>
                </a:moveTo>
                <a:lnTo>
                  <a:pt x="306766" y="2705824"/>
                </a:lnTo>
                <a:cubicBezTo>
                  <a:pt x="137344" y="2705824"/>
                  <a:pt x="0" y="2568480"/>
                  <a:pt x="0" y="23990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rgbClr val="0CEF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695752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4718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3.0.0)</a:t>
            </a:r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5% Charcoal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Indigo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3" r:id="rId1"/>
    <p:sldLayoutId id="2147484274" r:id="rId2"/>
    <p:sldLayoutId id="2147484275" r:id="rId3"/>
    <p:sldLayoutId id="2147484276" r:id="rId4"/>
    <p:sldLayoutId id="2147484279" r:id="rId5"/>
    <p:sldLayoutId id="2147484280" r:id="rId6"/>
    <p:sldLayoutId id="2147484288" r:id="rId7"/>
    <p:sldLayoutId id="2147484289" r:id="rId8"/>
    <p:sldLayoutId id="2147484290" r:id="rId9"/>
    <p:sldLayoutId id="2147484291" r:id="rId10"/>
    <p:sldLayoutId id="2147484240" r:id="rId11"/>
    <p:sldLayoutId id="2147484241" r:id="rId12"/>
    <p:sldLayoutId id="2147484242" r:id="rId13"/>
    <p:sldLayoutId id="2147484243" r:id="rId14"/>
    <p:sldLayoutId id="2147484244" r:id="rId15"/>
    <p:sldLayoutId id="2147484245" r:id="rId16"/>
    <p:sldLayoutId id="2147484246" r:id="rId17"/>
    <p:sldLayoutId id="2147484247" r:id="rId18"/>
    <p:sldLayoutId id="2147484248" r:id="rId19"/>
    <p:sldLayoutId id="2147484249" r:id="rId20"/>
    <p:sldLayoutId id="2147484250" r:id="rId21"/>
    <p:sldLayoutId id="2147484251" r:id="rId22"/>
    <p:sldLayoutId id="2147484252" r:id="rId23"/>
    <p:sldLayoutId id="2147484253" r:id="rId24"/>
    <p:sldLayoutId id="2147484254" r:id="rId25"/>
    <p:sldLayoutId id="2147484255" r:id="rId26"/>
    <p:sldLayoutId id="2147484256" r:id="rId27"/>
    <p:sldLayoutId id="2147484281" r:id="rId28"/>
    <p:sldLayoutId id="2147484282" r:id="rId29"/>
    <p:sldLayoutId id="2147484283" r:id="rId30"/>
    <p:sldLayoutId id="2147484284" r:id="rId31"/>
    <p:sldLayoutId id="2147484285" r:id="rId32"/>
    <p:sldLayoutId id="2147484286" r:id="rId33"/>
    <p:sldLayoutId id="2147484287" r:id="rId34"/>
    <p:sldLayoutId id="2147484292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6.x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8.emf"/><Relationship Id="rId9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.xml"/><Relationship Id="rId4" Type="http://schemas.openxmlformats.org/officeDocument/2006/relationships/image" Target="../media/image2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.xml"/><Relationship Id="rId4" Type="http://schemas.openxmlformats.org/officeDocument/2006/relationships/image" Target="../media/image27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014ADC4-BD15-2F2B-741A-EDFCCB5EC00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 anchorCtr="0"/>
          <a:lstStyle/>
          <a:p>
            <a:r>
              <a:rPr lang="en-US" dirty="0"/>
              <a:t>Welcome to Marketing Operations Open Office Hours – November Session</a:t>
            </a:r>
          </a:p>
        </p:txBody>
      </p:sp>
    </p:spTree>
    <p:extLst>
      <p:ext uri="{BB962C8B-B14F-4D97-AF65-F5344CB8AC3E}">
        <p14:creationId xmlns:p14="http://schemas.microsoft.com/office/powerpoint/2010/main" val="1126076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9971AAB-D865-7DDC-A2C7-39DAF45F2D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971AAB-D865-7DDC-A2C7-39DAF45F2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9BA824-BF8C-4BA6-98AA-843861EA5B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290" y="-43105"/>
            <a:ext cx="11338560" cy="768263"/>
          </a:xfrm>
        </p:spPr>
        <p:txBody>
          <a:bodyPr vert="horz"/>
          <a:lstStyle/>
          <a:p>
            <a:r>
              <a:rPr lang="en-US" dirty="0"/>
              <a:t>From VIA to Smartsheet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A7DC96-3269-4E4E-B2E2-5B229493DADF}"/>
              </a:ext>
            </a:extLst>
          </p:cNvPr>
          <p:cNvSpPr txBox="1">
            <a:spLocks/>
          </p:cNvSpPr>
          <p:nvPr/>
        </p:nvSpPr>
        <p:spPr>
          <a:xfrm>
            <a:off x="493448" y="3225535"/>
            <a:ext cx="5486400" cy="1797627"/>
          </a:xfrm>
          <a:prstGeom prst="rect">
            <a:avLst/>
          </a:prstGeom>
        </p:spPr>
        <p:txBody>
          <a:bodyPr>
            <a:noAutofit/>
          </a:bodyPr>
          <a:lstStyle>
            <a:lvl1pPr marL="230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1pPr>
            <a:lvl2pPr marL="457200" indent="-234950" algn="l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&gt;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2pPr>
            <a:lvl3pPr marL="679450" indent="-222250" algn="l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3pPr>
            <a:lvl4pPr marL="914400" indent="-2349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4pPr>
            <a:lvl5pPr marL="1144588" indent="-2222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sz="1400" dirty="0"/>
              <a:t>New Smartsheet form delivering:</a:t>
            </a:r>
          </a:p>
          <a:p>
            <a:r>
              <a:rPr lang="en-IN" sz="1400" dirty="0"/>
              <a:t>Transparency: Full visibility via Marketer Dashboard</a:t>
            </a:r>
          </a:p>
          <a:p>
            <a:r>
              <a:rPr lang="en-IN" sz="1400" dirty="0"/>
              <a:t>Efficiency: Dynamic dropdowns, conditional logic, centralized updates</a:t>
            </a:r>
          </a:p>
          <a:p>
            <a:r>
              <a:rPr lang="en-IN" sz="1400" dirty="0"/>
              <a:t>Multimedia Support: SEO tagging plus Brightcove &amp; Buzzsprout fields for podcasts/videos</a:t>
            </a:r>
          </a:p>
          <a:p>
            <a:r>
              <a:rPr lang="en-IN" sz="1400" b="1" dirty="0"/>
              <a:t>Impact</a:t>
            </a:r>
            <a:r>
              <a:rPr lang="en-IN" sz="1400" dirty="0"/>
              <a:t>: A single, user-friendly platform for submitting, tracking, and managing requests.</a:t>
            </a:r>
            <a:endParaRPr lang="en-US" sz="1400" dirty="0"/>
          </a:p>
          <a:p>
            <a:endParaRPr lang="en-IN" sz="1400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D8339CA-1E1D-4809-9605-79F4A711343F}"/>
              </a:ext>
            </a:extLst>
          </p:cNvPr>
          <p:cNvSpPr txBox="1">
            <a:spLocks/>
          </p:cNvSpPr>
          <p:nvPr/>
        </p:nvSpPr>
        <p:spPr>
          <a:xfrm>
            <a:off x="493448" y="2650944"/>
            <a:ext cx="5486400" cy="301621"/>
          </a:xfrm>
          <a:prstGeom prst="rect">
            <a:avLst/>
          </a:prstGeom>
          <a:noFill/>
        </p:spPr>
        <p:txBody>
          <a:bodyPr wrap="square" tIns="27432" bIns="27432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2000" b="0" i="0" kern="1200">
                <a:solidFill>
                  <a:schemeClr val="tx2"/>
                </a:solidFill>
                <a:latin typeface="+mj-lt"/>
                <a:ea typeface="ＭＳ Ｐゴシック" charset="-128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600" b="1" dirty="0">
                <a:solidFill>
                  <a:schemeClr val="accent2"/>
                </a:solidFill>
              </a:rPr>
              <a:t>Solu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552D0D1-D181-41AF-AE13-FF92EC2FCFA1}"/>
              </a:ext>
            </a:extLst>
          </p:cNvPr>
          <p:cNvCxnSpPr>
            <a:cxnSpLocks/>
          </p:cNvCxnSpPr>
          <p:nvPr/>
        </p:nvCxnSpPr>
        <p:spPr>
          <a:xfrm>
            <a:off x="436880" y="3032925"/>
            <a:ext cx="5486400" cy="0"/>
          </a:xfrm>
          <a:prstGeom prst="line">
            <a:avLst/>
          </a:prstGeom>
          <a:ln w="762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6767706D-0E87-46B9-A1F3-71CAAA0C5BA0}"/>
              </a:ext>
            </a:extLst>
          </p:cNvPr>
          <p:cNvSpPr/>
          <p:nvPr/>
        </p:nvSpPr>
        <p:spPr>
          <a:xfrm>
            <a:off x="6603524" y="4652530"/>
            <a:ext cx="723900" cy="32004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p3d/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marL="0" marR="0" lvl="0" indent="0" algn="ctr" defTabSz="4000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 ipsum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78B46D9-8658-47A1-A621-5B86BC19F23C}"/>
              </a:ext>
            </a:extLst>
          </p:cNvPr>
          <p:cNvSpPr/>
          <p:nvPr/>
        </p:nvSpPr>
        <p:spPr>
          <a:xfrm>
            <a:off x="7567613" y="2942698"/>
            <a:ext cx="1188720" cy="187858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 rtlCol="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900" b="1" dirty="0">
                <a:solidFill>
                  <a:prstClr val="white"/>
                </a:solidFill>
              </a:rPr>
              <a:t>Lorem ipsum</a:t>
            </a:r>
          </a:p>
        </p:txBody>
      </p:sp>
      <p:sp>
        <p:nvSpPr>
          <p:cNvPr id="87" name="Text Placeholder 4">
            <a:extLst>
              <a:ext uri="{FF2B5EF4-FFF2-40B4-BE49-F238E27FC236}">
                <a16:creationId xmlns:a16="http://schemas.microsoft.com/office/drawing/2014/main" id="{811723F6-1AF3-4A73-A618-55F2F6E4E36A}"/>
              </a:ext>
            </a:extLst>
          </p:cNvPr>
          <p:cNvSpPr txBox="1">
            <a:spLocks/>
          </p:cNvSpPr>
          <p:nvPr/>
        </p:nvSpPr>
        <p:spPr>
          <a:xfrm>
            <a:off x="9995264" y="486005"/>
            <a:ext cx="1939268" cy="35599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BBBE0BE-971A-77F3-2FF0-5BD0772328F3}"/>
              </a:ext>
            </a:extLst>
          </p:cNvPr>
          <p:cNvSpPr txBox="1">
            <a:spLocks/>
          </p:cNvSpPr>
          <p:nvPr/>
        </p:nvSpPr>
        <p:spPr>
          <a:xfrm>
            <a:off x="6217689" y="1906134"/>
            <a:ext cx="5486400" cy="1546512"/>
          </a:xfrm>
          <a:prstGeom prst="rect">
            <a:avLst/>
          </a:prstGeom>
        </p:spPr>
        <p:txBody>
          <a:bodyPr>
            <a:noAutofit/>
          </a:bodyPr>
          <a:lstStyle>
            <a:lvl1pPr marL="230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1pPr>
            <a:lvl2pPr marL="457200" indent="-234950" algn="l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&gt;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2pPr>
            <a:lvl3pPr marL="679450" indent="-222250" algn="l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3pPr>
            <a:lvl4pPr marL="914400" indent="-2349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4pPr>
            <a:lvl5pPr marL="1144588" indent="-2222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400" dirty="0"/>
              <a:t>Improve visibility, streamline workflows, update taxonomies, and reduce turnaround time for branding, marketing ops, and sales.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3CB8EDB-3BEA-7773-7815-D13315C290CC}"/>
              </a:ext>
            </a:extLst>
          </p:cNvPr>
          <p:cNvSpPr txBox="1">
            <a:spLocks/>
          </p:cNvSpPr>
          <p:nvPr/>
        </p:nvSpPr>
        <p:spPr>
          <a:xfrm>
            <a:off x="6323438" y="1404266"/>
            <a:ext cx="5486400" cy="301621"/>
          </a:xfrm>
          <a:prstGeom prst="rect">
            <a:avLst/>
          </a:prstGeom>
          <a:noFill/>
        </p:spPr>
        <p:txBody>
          <a:bodyPr wrap="square" tIns="27432" bIns="27432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2000" b="0" i="0" kern="1200">
                <a:solidFill>
                  <a:schemeClr val="tx2"/>
                </a:solidFill>
                <a:latin typeface="+mj-lt"/>
                <a:ea typeface="ＭＳ Ｐゴシック" charset="-128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/>
                <a:ea typeface="ＭＳ Ｐゴシック" charset="-128"/>
                <a:cs typeface="+mn-cs"/>
              </a:rPr>
              <a:t>Challeng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70EA65E-148D-A22D-163C-52435BC480AF}"/>
              </a:ext>
            </a:extLst>
          </p:cNvPr>
          <p:cNvCxnSpPr>
            <a:cxnSpLocks/>
          </p:cNvCxnSpPr>
          <p:nvPr/>
        </p:nvCxnSpPr>
        <p:spPr>
          <a:xfrm>
            <a:off x="6372310" y="1777712"/>
            <a:ext cx="5486400" cy="0"/>
          </a:xfrm>
          <a:prstGeom prst="line">
            <a:avLst/>
          </a:prstGeom>
          <a:ln w="762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CF94E0B1-FBEE-092B-0E53-6A4464F97D4B}"/>
              </a:ext>
            </a:extLst>
          </p:cNvPr>
          <p:cNvSpPr txBox="1">
            <a:spLocks/>
          </p:cNvSpPr>
          <p:nvPr/>
        </p:nvSpPr>
        <p:spPr>
          <a:xfrm>
            <a:off x="424868" y="1903326"/>
            <a:ext cx="5486400" cy="1454516"/>
          </a:xfrm>
          <a:prstGeom prst="rect">
            <a:avLst/>
          </a:prstGeom>
        </p:spPr>
        <p:txBody>
          <a:bodyPr>
            <a:normAutofit/>
          </a:bodyPr>
          <a:lstStyle>
            <a:lvl1pPr marL="230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1pPr>
            <a:lvl2pPr marL="457200" indent="-234950" algn="l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&gt;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2pPr>
            <a:lvl3pPr marL="679450" indent="-222250" algn="l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3pPr>
            <a:lvl4pPr marL="914400" indent="-2349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4pPr>
            <a:lvl5pPr marL="1144588" indent="-2222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  <a:tabLst>
                <a:tab pos="4283075" algn="l"/>
              </a:tabLst>
            </a:pPr>
            <a:r>
              <a:rPr lang="en-US" sz="1400" dirty="0"/>
              <a:t>Difficulty tracking asset publishing requests, long SLAs, and IT dependency for minor changes.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6D8E489-02A7-5765-3965-7801F1E65C8E}"/>
              </a:ext>
            </a:extLst>
          </p:cNvPr>
          <p:cNvSpPr txBox="1">
            <a:spLocks/>
          </p:cNvSpPr>
          <p:nvPr/>
        </p:nvSpPr>
        <p:spPr>
          <a:xfrm>
            <a:off x="424868" y="1390260"/>
            <a:ext cx="5486400" cy="334583"/>
          </a:xfrm>
          <a:prstGeom prst="rect">
            <a:avLst/>
          </a:prstGeom>
          <a:noFill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tuation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B8689E40-FB65-25FE-A238-09F01513A77D}"/>
              </a:ext>
            </a:extLst>
          </p:cNvPr>
          <p:cNvCxnSpPr>
            <a:cxnSpLocks/>
          </p:cNvCxnSpPr>
          <p:nvPr/>
        </p:nvCxnSpPr>
        <p:spPr>
          <a:xfrm>
            <a:off x="445190" y="1777712"/>
            <a:ext cx="5486400" cy="0"/>
          </a:xfrm>
          <a:prstGeom prst="line">
            <a:avLst/>
          </a:prstGeom>
          <a:ln w="762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1A83EE8-7469-2B19-ED67-C16851937599}"/>
              </a:ext>
            </a:extLst>
          </p:cNvPr>
          <p:cNvSpPr txBox="1">
            <a:spLocks/>
          </p:cNvSpPr>
          <p:nvPr/>
        </p:nvSpPr>
        <p:spPr>
          <a:xfrm>
            <a:off x="516170" y="5344361"/>
            <a:ext cx="5486400" cy="301621"/>
          </a:xfrm>
          <a:prstGeom prst="rect">
            <a:avLst/>
          </a:prstGeom>
          <a:noFill/>
        </p:spPr>
        <p:txBody>
          <a:bodyPr wrap="square" tIns="27432" bIns="27432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2000" b="0" i="0" kern="1200">
                <a:solidFill>
                  <a:schemeClr val="tx2"/>
                </a:solidFill>
                <a:latin typeface="+mj-lt"/>
                <a:ea typeface="ＭＳ Ｐゴシック" charset="-128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600" b="1" dirty="0">
                <a:solidFill>
                  <a:schemeClr val="accent2"/>
                </a:solidFill>
              </a:rPr>
              <a:t>Form Roll-ou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023E603-E0BE-059C-2F4B-5B9A8B80EBCB}"/>
              </a:ext>
            </a:extLst>
          </p:cNvPr>
          <p:cNvSpPr txBox="1">
            <a:spLocks/>
          </p:cNvSpPr>
          <p:nvPr/>
        </p:nvSpPr>
        <p:spPr>
          <a:xfrm>
            <a:off x="493448" y="5912317"/>
            <a:ext cx="5130112" cy="842552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230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1pPr>
            <a:lvl2pPr marL="457200" indent="-234950" algn="l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&gt;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2pPr>
            <a:lvl3pPr marL="679450" indent="-222250" algn="l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3pPr>
            <a:lvl4pPr marL="914400" indent="-2349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4pPr>
            <a:lvl5pPr marL="1144588" indent="-2222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9870" indent="-229870">
              <a:spcAft>
                <a:spcPts val="300"/>
              </a:spcAft>
              <a:tabLst>
                <a:tab pos="4283075" algn="l"/>
              </a:tabLst>
            </a:pPr>
            <a:r>
              <a:rPr lang="en-US" sz="1400" dirty="0">
                <a:ea typeface="ＭＳ Ｐゴシック"/>
              </a:rPr>
              <a:t>The new Smartsheet form launches on </a:t>
            </a:r>
            <a:r>
              <a:rPr lang="en-US" sz="1400" b="1" dirty="0">
                <a:ea typeface="ＭＳ Ｐゴシック"/>
              </a:rPr>
              <a:t>7th November</a:t>
            </a:r>
            <a:r>
              <a:rPr lang="en-US" sz="1400" dirty="0">
                <a:ea typeface="ＭＳ Ｐゴシック"/>
              </a:rPr>
              <a:t>. VIA submissions will close the same day. For more details, </a:t>
            </a:r>
            <a:r>
              <a:rPr lang="en-US" sz="1400" b="1" dirty="0">
                <a:ea typeface="ＭＳ Ｐゴシック"/>
              </a:rPr>
              <a:t>join our M3 session </a:t>
            </a:r>
            <a:r>
              <a:rPr lang="en-US" sz="1400" dirty="0">
                <a:ea typeface="ＭＳ Ｐゴシック"/>
              </a:rPr>
              <a:t>on 11th November.</a:t>
            </a:r>
            <a:endParaRPr lang="en-US">
              <a:ea typeface="ＭＳ Ｐゴシック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72A3454-C182-DA46-2E49-3B14B0BE6B10}"/>
              </a:ext>
            </a:extLst>
          </p:cNvPr>
          <p:cNvCxnSpPr>
            <a:cxnSpLocks/>
          </p:cNvCxnSpPr>
          <p:nvPr/>
        </p:nvCxnSpPr>
        <p:spPr>
          <a:xfrm>
            <a:off x="516170" y="5731983"/>
            <a:ext cx="5486400" cy="0"/>
          </a:xfrm>
          <a:prstGeom prst="line">
            <a:avLst/>
          </a:prstGeom>
          <a:ln w="762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7D00CB0-60A5-F428-0A90-24F08346BB77}"/>
              </a:ext>
            </a:extLst>
          </p:cNvPr>
          <p:cNvSpPr txBox="1"/>
          <p:nvPr/>
        </p:nvSpPr>
        <p:spPr>
          <a:xfrm>
            <a:off x="333290" y="693119"/>
            <a:ext cx="65989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800" b="0" i="1" u="none" strike="noStrike" dirty="0">
                <a:solidFill>
                  <a:srgbClr val="00A3E0"/>
                </a:solidFill>
                <a:effectLst/>
                <a:latin typeface="Arial" panose="020B0604020202020204" pitchFamily="34" charset="0"/>
              </a:rPr>
              <a:t>A Single Platform for Efficient Marketing Operations</a:t>
            </a:r>
            <a:endParaRPr lang="en-IN" dirty="0"/>
          </a:p>
        </p:txBody>
      </p:sp>
      <p:pic>
        <p:nvPicPr>
          <p:cNvPr id="94" name="Picture 93">
            <a:extLst>
              <a:ext uri="{FF2B5EF4-FFF2-40B4-BE49-F238E27FC236}">
                <a16:creationId xmlns:a16="http://schemas.microsoft.com/office/drawing/2014/main" id="{E069ABA6-A6B9-A6E5-7A90-DA515DF01E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33356" y="2549569"/>
            <a:ext cx="3308574" cy="3822425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6EA6E399-5320-23E6-A53C-57B1711F47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4061" y="3084266"/>
            <a:ext cx="2437409" cy="2988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699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50605E-519A-EB8D-5877-F291285F32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1262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E0E3498-D44C-4E3F-66E0-52039C322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8C02D5-B939-BFF8-7657-D0B3D73FC719}"/>
              </a:ext>
            </a:extLst>
          </p:cNvPr>
          <p:cNvSpPr txBox="1"/>
          <p:nvPr/>
        </p:nvSpPr>
        <p:spPr>
          <a:xfrm>
            <a:off x="1962418" y="1551964"/>
            <a:ext cx="9429832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lvl="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Welcome</a:t>
            </a:r>
          </a:p>
          <a:p>
            <a:pPr marL="285750" lvl="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Lesson learned from LinkedIn Advertising campaigns for RWS in 2025 - Pauline Fahey</a:t>
            </a:r>
          </a:p>
          <a:p>
            <a:pPr marL="285750" lvl="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Update on Smartsheet form replacing VIA for asset publishing requests - Sathya N</a:t>
            </a:r>
          </a:p>
          <a:p>
            <a:pPr fontAlgn="base"/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Q&amp;A</a:t>
            </a:r>
          </a:p>
          <a:p>
            <a:endParaRPr lang="en-US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3352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87E32D-4EC6-BEDD-1665-93430EF7C9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3CCE48-BCF7-0195-2B93-56DFE67CC5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lIns="91440" tIns="45720" rIns="91440" bIns="45720" anchor="t">
            <a:noAutofit/>
          </a:bodyPr>
          <a:lstStyle/>
          <a:p>
            <a:r>
              <a:rPr lang="en-US" dirty="0">
                <a:cs typeface="Arial"/>
              </a:rPr>
              <a:t>Pauline Fahey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E3ED8B-525E-677A-3E1C-EDDAB274105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 anchorCtr="0"/>
          <a:lstStyle/>
          <a:p>
            <a:r>
              <a:rPr lang="en-US" dirty="0"/>
              <a:t>Lesson learned from LinkedIn Advertising campaigns for RWS in 2025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41BEB749-9922-2BCE-5796-A28418B9CF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arketing Operations Open Office Hours November 5, 2025</a:t>
            </a:r>
          </a:p>
        </p:txBody>
      </p:sp>
    </p:spTree>
    <p:extLst>
      <p:ext uri="{BB962C8B-B14F-4D97-AF65-F5344CB8AC3E}">
        <p14:creationId xmlns:p14="http://schemas.microsoft.com/office/powerpoint/2010/main" val="375655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CCC8D7-A54B-16A4-B8A7-3683C1E14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CB81096-48AF-B5B2-42CE-5C368C1C38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4753" y="344933"/>
            <a:ext cx="9163983" cy="594360"/>
          </a:xfrm>
        </p:spPr>
        <p:txBody>
          <a:bodyPr/>
          <a:lstStyle/>
          <a:p>
            <a:r>
              <a:rPr lang="fr-FR" dirty="0"/>
              <a:t>On the call today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580636C-DD8C-BE5C-EEA4-651A7C9F9E7C}"/>
              </a:ext>
            </a:extLst>
          </p:cNvPr>
          <p:cNvSpPr/>
          <p:nvPr/>
        </p:nvSpPr>
        <p:spPr>
          <a:xfrm>
            <a:off x="1789813" y="1245072"/>
            <a:ext cx="8782493" cy="3794762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br>
              <a:rPr lang="fr-FR" sz="2800" dirty="0">
                <a:solidFill>
                  <a:schemeClr val="accent1"/>
                </a:solidFill>
              </a:rPr>
            </a:br>
            <a:r>
              <a:rPr lang="fr-FR" sz="2800" b="1" dirty="0">
                <a:solidFill>
                  <a:schemeClr val="accent1"/>
                </a:solidFill>
              </a:rPr>
              <a:t>Overview of RWS Advertising </a:t>
            </a:r>
          </a:p>
          <a:p>
            <a:pPr algn="ctr"/>
            <a:r>
              <a:rPr lang="fr-FR" sz="2800" b="1" dirty="0">
                <a:solidFill>
                  <a:schemeClr val="accent1"/>
                </a:solidFill>
              </a:rPr>
              <a:t>Lessons Learned 2025</a:t>
            </a:r>
          </a:p>
          <a:p>
            <a:pPr algn="ctr"/>
            <a:endParaRPr lang="fr-FR" sz="2800" dirty="0">
              <a:solidFill>
                <a:schemeClr val="accent1"/>
              </a:solidFill>
            </a:endParaRPr>
          </a:p>
          <a:p>
            <a:pPr algn="ctr"/>
            <a:endParaRPr lang="fr-FR" sz="2800" dirty="0">
              <a:solidFill>
                <a:schemeClr val="accent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Metric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Observations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Recommendations</a:t>
            </a:r>
          </a:p>
          <a:p>
            <a:pPr algn="ctr"/>
            <a:endParaRPr lang="fr-FR" sz="2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539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CC83FE-11DC-8980-7F4E-F45E310B1F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50D4E433-867A-2E98-E361-441CF229BE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50D4E433-867A-2E98-E361-441CF229B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Graphic 25">
            <a:extLst>
              <a:ext uri="{FF2B5EF4-FFF2-40B4-BE49-F238E27FC236}">
                <a16:creationId xmlns:a16="http://schemas.microsoft.com/office/drawing/2014/main" id="{A9AD7217-1DDB-6EE4-10F3-5CD2A7F5360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89981" y="1986973"/>
            <a:ext cx="640080" cy="337500"/>
          </a:xfrm>
          <a:prstGeom prst="rect">
            <a:avLst/>
          </a:prstGeom>
        </p:spPr>
      </p:pic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6A8AB54B-246B-6916-7F4B-522F094BA693}"/>
              </a:ext>
            </a:extLst>
          </p:cNvPr>
          <p:cNvSpPr/>
          <p:nvPr/>
        </p:nvSpPr>
        <p:spPr>
          <a:xfrm flipV="1">
            <a:off x="272661" y="2280676"/>
            <a:ext cx="3474720" cy="3900295"/>
          </a:xfrm>
          <a:prstGeom prst="round2SameRect">
            <a:avLst>
              <a:gd name="adj1" fmla="val 9250"/>
              <a:gd name="adj2" fmla="val 0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noProof="0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4F1E30C-1ECB-6296-4A62-860547DD7152}"/>
              </a:ext>
            </a:extLst>
          </p:cNvPr>
          <p:cNvSpPr>
            <a:spLocks/>
          </p:cNvSpPr>
          <p:nvPr/>
        </p:nvSpPr>
        <p:spPr>
          <a:xfrm>
            <a:off x="478401" y="1270955"/>
            <a:ext cx="3063240" cy="4750704"/>
          </a:xfrm>
          <a:prstGeom prst="roundRect">
            <a:avLst>
              <a:gd name="adj" fmla="val 7959"/>
            </a:avLst>
          </a:prstGeom>
          <a:noFill/>
          <a:ln w="1905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noProof="0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07ABF850-9D30-B7EA-7BC2-6FFADB9B01B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27801" y="1986973"/>
            <a:ext cx="640080" cy="337500"/>
          </a:xfrm>
          <a:prstGeom prst="rect">
            <a:avLst/>
          </a:prstGeom>
        </p:spPr>
      </p:pic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755625D2-29E1-6C69-C84A-B1BA76C23481}"/>
              </a:ext>
            </a:extLst>
          </p:cNvPr>
          <p:cNvSpPr/>
          <p:nvPr/>
        </p:nvSpPr>
        <p:spPr>
          <a:xfrm flipV="1">
            <a:off x="4210481" y="2266328"/>
            <a:ext cx="3474720" cy="3900295"/>
          </a:xfrm>
          <a:prstGeom prst="round2SameRect">
            <a:avLst>
              <a:gd name="adj1" fmla="val 9250"/>
              <a:gd name="adj2" fmla="val 0"/>
            </a:avLst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noProof="0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14FB68B-972E-0B93-2E65-4ABF74ED3187}"/>
              </a:ext>
            </a:extLst>
          </p:cNvPr>
          <p:cNvSpPr>
            <a:spLocks/>
          </p:cNvSpPr>
          <p:nvPr/>
        </p:nvSpPr>
        <p:spPr>
          <a:xfrm>
            <a:off x="4416221" y="1270955"/>
            <a:ext cx="3063240" cy="4750704"/>
          </a:xfrm>
          <a:prstGeom prst="roundRect">
            <a:avLst>
              <a:gd name="adj" fmla="val 7959"/>
            </a:avLst>
          </a:prstGeom>
          <a:noFill/>
          <a:ln w="1905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noProof="0" dirty="0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E0149505-2A7D-C2C8-2741-9434589C1892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565620" y="1986973"/>
            <a:ext cx="640080" cy="337500"/>
          </a:xfrm>
          <a:prstGeom prst="rect">
            <a:avLst/>
          </a:prstGeom>
        </p:spPr>
      </p:pic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E1E3BE53-3E5F-1547-06E3-B58D9355783E}"/>
              </a:ext>
            </a:extLst>
          </p:cNvPr>
          <p:cNvSpPr/>
          <p:nvPr/>
        </p:nvSpPr>
        <p:spPr>
          <a:xfrm flipV="1">
            <a:off x="8148300" y="2266328"/>
            <a:ext cx="3474720" cy="3900295"/>
          </a:xfrm>
          <a:prstGeom prst="round2SameRect">
            <a:avLst>
              <a:gd name="adj1" fmla="val 9250"/>
              <a:gd name="adj2" fmla="val 0"/>
            </a:avLst>
          </a:prstGeom>
          <a:solidFill>
            <a:schemeClr val="accent5"/>
          </a:solidFill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noProof="0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EB2DFFD-25EB-1EA3-FD1C-B82B9A99AC7D}"/>
              </a:ext>
            </a:extLst>
          </p:cNvPr>
          <p:cNvSpPr>
            <a:spLocks/>
          </p:cNvSpPr>
          <p:nvPr/>
        </p:nvSpPr>
        <p:spPr>
          <a:xfrm>
            <a:off x="8354040" y="1270955"/>
            <a:ext cx="3063240" cy="4750704"/>
          </a:xfrm>
          <a:prstGeom prst="roundRect">
            <a:avLst>
              <a:gd name="adj" fmla="val 7959"/>
            </a:avLst>
          </a:prstGeom>
          <a:noFill/>
          <a:ln w="1905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noProof="0" dirty="0"/>
          </a:p>
        </p:txBody>
      </p:sp>
      <p:sp>
        <p:nvSpPr>
          <p:cNvPr id="20" name="Text Placeholder 30">
            <a:extLst>
              <a:ext uri="{FF2B5EF4-FFF2-40B4-BE49-F238E27FC236}">
                <a16:creationId xmlns:a16="http://schemas.microsoft.com/office/drawing/2014/main" id="{9066F817-8522-6C3F-F899-9C6D14AFF588}"/>
              </a:ext>
            </a:extLst>
          </p:cNvPr>
          <p:cNvSpPr txBox="1">
            <a:spLocks/>
          </p:cNvSpPr>
          <p:nvPr/>
        </p:nvSpPr>
        <p:spPr>
          <a:xfrm>
            <a:off x="478401" y="1430267"/>
            <a:ext cx="3063241" cy="41482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200"/>
              </a:spcBef>
              <a:buFontTx/>
              <a:buNone/>
              <a:defRPr sz="1200" b="1" i="0">
                <a:solidFill>
                  <a:schemeClr val="accent3"/>
                </a:solidFill>
              </a:defRPr>
            </a:lvl1pPr>
            <a:lvl2pPr marL="91440" indent="-91440">
              <a:lnSpc>
                <a:spcPts val="1200"/>
              </a:lnSpc>
              <a:spcBef>
                <a:spcPts val="200"/>
              </a:spcBef>
              <a:buFont typeface="Arial"/>
              <a:buChar char="•"/>
              <a:defRPr sz="1000"/>
            </a:lvl2pPr>
            <a:lvl3pPr marL="91440" indent="-91440">
              <a:lnSpc>
                <a:spcPts val="1200"/>
              </a:lnSpc>
              <a:spcBef>
                <a:spcPts val="200"/>
              </a:spcBef>
              <a:buFont typeface="Arial"/>
              <a:buChar char="•"/>
              <a:defRPr sz="1000"/>
            </a:lvl3pPr>
            <a:lvl4pPr marL="91440" indent="-91440">
              <a:lnSpc>
                <a:spcPts val="1200"/>
              </a:lnSpc>
              <a:spcBef>
                <a:spcPts val="200"/>
              </a:spcBef>
              <a:buFont typeface="Arial"/>
              <a:buChar char="•"/>
              <a:defRPr sz="1000"/>
            </a:lvl4pPr>
            <a:lvl5pPr marL="91440" indent="-91440">
              <a:lnSpc>
                <a:spcPts val="1200"/>
              </a:lnSpc>
              <a:spcBef>
                <a:spcPts val="200"/>
              </a:spcBef>
              <a:buFont typeface="Arial"/>
              <a:buChar char="•"/>
              <a:defRPr sz="1000"/>
            </a:lvl5pPr>
          </a:lstStyle>
          <a:p>
            <a:pPr algn="ctr" fontAlgn="base">
              <a:lnSpc>
                <a:spcPct val="100000"/>
              </a:lnSpc>
              <a:spcAft>
                <a:spcPct val="0"/>
              </a:spcAft>
              <a:defRPr/>
            </a:pPr>
            <a:r>
              <a:rPr lang="en-US" sz="2000" noProof="0" dirty="0">
                <a:solidFill>
                  <a:schemeClr val="accent1"/>
                </a:solidFill>
              </a:rPr>
              <a:t>Impressions</a:t>
            </a:r>
            <a:endParaRPr lang="en-US" sz="1600" b="0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30">
            <a:extLst>
              <a:ext uri="{FF2B5EF4-FFF2-40B4-BE49-F238E27FC236}">
                <a16:creationId xmlns:a16="http://schemas.microsoft.com/office/drawing/2014/main" id="{77466B51-71DE-1D09-A21C-128F5BE4B8DE}"/>
              </a:ext>
            </a:extLst>
          </p:cNvPr>
          <p:cNvSpPr txBox="1">
            <a:spLocks/>
          </p:cNvSpPr>
          <p:nvPr/>
        </p:nvSpPr>
        <p:spPr>
          <a:xfrm>
            <a:off x="4416220" y="1430267"/>
            <a:ext cx="3063241" cy="41482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200"/>
              </a:spcBef>
              <a:buFontTx/>
              <a:buNone/>
              <a:defRPr sz="1200" b="1" i="0">
                <a:solidFill>
                  <a:schemeClr val="accent3"/>
                </a:solidFill>
              </a:defRPr>
            </a:lvl1pPr>
            <a:lvl2pPr marL="91440" indent="-91440">
              <a:lnSpc>
                <a:spcPts val="1200"/>
              </a:lnSpc>
              <a:spcBef>
                <a:spcPts val="200"/>
              </a:spcBef>
              <a:buFont typeface="Arial"/>
              <a:buChar char="•"/>
              <a:defRPr sz="1000"/>
            </a:lvl2pPr>
            <a:lvl3pPr marL="91440" indent="-91440">
              <a:lnSpc>
                <a:spcPts val="1200"/>
              </a:lnSpc>
              <a:spcBef>
                <a:spcPts val="200"/>
              </a:spcBef>
              <a:buFont typeface="Arial"/>
              <a:buChar char="•"/>
              <a:defRPr sz="1000"/>
            </a:lvl3pPr>
            <a:lvl4pPr marL="91440" indent="-91440">
              <a:lnSpc>
                <a:spcPts val="1200"/>
              </a:lnSpc>
              <a:spcBef>
                <a:spcPts val="200"/>
              </a:spcBef>
              <a:buFont typeface="Arial"/>
              <a:buChar char="•"/>
              <a:defRPr sz="1000"/>
            </a:lvl4pPr>
            <a:lvl5pPr marL="91440" indent="-91440">
              <a:lnSpc>
                <a:spcPts val="1200"/>
              </a:lnSpc>
              <a:spcBef>
                <a:spcPts val="200"/>
              </a:spcBef>
              <a:buFont typeface="Arial"/>
              <a:buChar char="•"/>
              <a:defRPr sz="1000"/>
            </a:lvl5pPr>
          </a:lstStyle>
          <a:p>
            <a:pPr algn="ctr" fontAlgn="base">
              <a:lnSpc>
                <a:spcPct val="100000"/>
              </a:lnSpc>
              <a:spcAft>
                <a:spcPct val="0"/>
              </a:spcAft>
              <a:defRPr/>
            </a:pPr>
            <a:r>
              <a:rPr lang="en-US" sz="2000" noProof="0" dirty="0">
                <a:solidFill>
                  <a:schemeClr val="accent2"/>
                </a:solidFill>
              </a:rPr>
              <a:t>CTR</a:t>
            </a:r>
            <a:br>
              <a:rPr lang="en-US" sz="2000" noProof="0" dirty="0">
                <a:solidFill>
                  <a:schemeClr val="accent2"/>
                </a:solidFill>
              </a:rPr>
            </a:br>
            <a:r>
              <a:rPr lang="en-US" sz="2000" b="0" noProof="0" dirty="0">
                <a:solidFill>
                  <a:schemeClr val="accent2"/>
                </a:solidFill>
              </a:rPr>
              <a:t>above benchmark</a:t>
            </a:r>
            <a:endParaRPr lang="en-US" sz="1600" b="0" noProof="0" dirty="0">
              <a:solidFill>
                <a:schemeClr val="accent2"/>
              </a:solidFill>
            </a:endParaRPr>
          </a:p>
        </p:txBody>
      </p:sp>
      <p:sp>
        <p:nvSpPr>
          <p:cNvPr id="22" name="Text Placeholder 30">
            <a:extLst>
              <a:ext uri="{FF2B5EF4-FFF2-40B4-BE49-F238E27FC236}">
                <a16:creationId xmlns:a16="http://schemas.microsoft.com/office/drawing/2014/main" id="{6F77B09B-AF97-ABFB-36CF-7FDB6AA8A2CE}"/>
              </a:ext>
            </a:extLst>
          </p:cNvPr>
          <p:cNvSpPr txBox="1">
            <a:spLocks/>
          </p:cNvSpPr>
          <p:nvPr/>
        </p:nvSpPr>
        <p:spPr>
          <a:xfrm>
            <a:off x="8354039" y="1430267"/>
            <a:ext cx="3063241" cy="41482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200"/>
              </a:spcBef>
              <a:buFontTx/>
              <a:buNone/>
              <a:defRPr sz="1200" b="1" i="0">
                <a:solidFill>
                  <a:schemeClr val="accent3"/>
                </a:solidFill>
              </a:defRPr>
            </a:lvl1pPr>
            <a:lvl2pPr marL="91440" indent="-91440">
              <a:lnSpc>
                <a:spcPts val="1200"/>
              </a:lnSpc>
              <a:spcBef>
                <a:spcPts val="200"/>
              </a:spcBef>
              <a:buFont typeface="Arial"/>
              <a:buChar char="•"/>
              <a:defRPr sz="1000"/>
            </a:lvl2pPr>
            <a:lvl3pPr marL="91440" indent="-91440">
              <a:lnSpc>
                <a:spcPts val="1200"/>
              </a:lnSpc>
              <a:spcBef>
                <a:spcPts val="200"/>
              </a:spcBef>
              <a:buFont typeface="Arial"/>
              <a:buChar char="•"/>
              <a:defRPr sz="1000"/>
            </a:lvl3pPr>
            <a:lvl4pPr marL="91440" indent="-91440">
              <a:lnSpc>
                <a:spcPts val="1200"/>
              </a:lnSpc>
              <a:spcBef>
                <a:spcPts val="200"/>
              </a:spcBef>
              <a:buFont typeface="Arial"/>
              <a:buChar char="•"/>
              <a:defRPr sz="1000"/>
            </a:lvl4pPr>
            <a:lvl5pPr marL="91440" indent="-91440">
              <a:lnSpc>
                <a:spcPts val="1200"/>
              </a:lnSpc>
              <a:spcBef>
                <a:spcPts val="200"/>
              </a:spcBef>
              <a:buFont typeface="Arial"/>
              <a:buChar char="•"/>
              <a:defRPr sz="1000"/>
            </a:lvl5pPr>
          </a:lstStyle>
          <a:p>
            <a:pPr algn="ctr" fontAlgn="base">
              <a:lnSpc>
                <a:spcPct val="100000"/>
              </a:lnSpc>
              <a:spcAft>
                <a:spcPct val="0"/>
              </a:spcAft>
              <a:defRPr/>
            </a:pPr>
            <a:r>
              <a:rPr lang="en-US" sz="2000" noProof="0" dirty="0">
                <a:solidFill>
                  <a:schemeClr val="accent5"/>
                </a:solidFill>
              </a:rPr>
              <a:t>MQLs</a:t>
            </a:r>
            <a:endParaRPr lang="en-US" sz="1600" b="0" noProof="0" dirty="0">
              <a:solidFill>
                <a:schemeClr val="accent5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8BF729E-98C2-1791-0A32-8EAAA72535AB}"/>
              </a:ext>
            </a:extLst>
          </p:cNvPr>
          <p:cNvSpPr txBox="1">
            <a:spLocks/>
          </p:cNvSpPr>
          <p:nvPr/>
        </p:nvSpPr>
        <p:spPr>
          <a:xfrm>
            <a:off x="384173" y="2351388"/>
            <a:ext cx="3063240" cy="11448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spcBef>
                <a:spcPts val="60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83,000</a:t>
            </a:r>
            <a:b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spcBef>
                <a:spcPts val="600"/>
              </a:spcBef>
              <a:buClrTx/>
              <a:buSzTx/>
              <a:buFontTx/>
              <a:buNone/>
              <a:tabLst/>
              <a:defRPr/>
            </a:pPr>
            <a:r>
              <a:rPr lang="en-US" sz="4000" b="1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40%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PY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941CBEC-6174-F074-4084-D1F00D4B7D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3967" y="602385"/>
            <a:ext cx="11807827" cy="402336"/>
          </a:xfrm>
        </p:spPr>
        <p:txBody>
          <a:bodyPr/>
          <a:lstStyle/>
          <a:p>
            <a:r>
              <a:rPr lang="en-US" noProof="0" dirty="0"/>
              <a:t>LinkedIn Advertising costs are increasing overall. Additional tests planned in Q4 to optimize campaign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98D7ED-B7B4-50EE-B445-24683F910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3" y="-184053"/>
            <a:ext cx="11338560" cy="768263"/>
          </a:xfrm>
        </p:spPr>
        <p:txBody>
          <a:bodyPr/>
          <a:lstStyle/>
          <a:p>
            <a:r>
              <a:rPr lang="en-US" noProof="0" dirty="0"/>
              <a:t>2025 Advertising Lessons learned – Data as of end Septemb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13FEFE-1795-B498-B9F0-180B48C66861}"/>
              </a:ext>
            </a:extLst>
          </p:cNvPr>
          <p:cNvSpPr txBox="1">
            <a:spLocks/>
          </p:cNvSpPr>
          <p:nvPr/>
        </p:nvSpPr>
        <p:spPr>
          <a:xfrm>
            <a:off x="8354039" y="2351388"/>
            <a:ext cx="3063240" cy="11448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spcBef>
                <a:spcPts val="60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05</a:t>
            </a:r>
            <a:b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b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13%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PY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2A1DBA9-8C60-F9D2-4E70-6CB165B1BDBD}"/>
              </a:ext>
            </a:extLst>
          </p:cNvPr>
          <p:cNvSpPr txBox="1">
            <a:spLocks/>
          </p:cNvSpPr>
          <p:nvPr/>
        </p:nvSpPr>
        <p:spPr>
          <a:xfrm>
            <a:off x="4416221" y="2351426"/>
            <a:ext cx="3063240" cy="11448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spcBef>
                <a:spcPts val="60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54%</a:t>
            </a:r>
            <a:b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spcBef>
                <a:spcPts val="60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-19%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PY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29AB069-CB60-7920-A78E-D1DFECA2E61E}"/>
              </a:ext>
            </a:extLst>
          </p:cNvPr>
          <p:cNvSpPr txBox="1"/>
          <p:nvPr/>
        </p:nvSpPr>
        <p:spPr>
          <a:xfrm>
            <a:off x="8051180" y="4491605"/>
            <a:ext cx="2696620" cy="1415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noProof="0" dirty="0">
                <a:solidFill>
                  <a:schemeClr val="bg1"/>
                </a:solidFill>
              </a:rPr>
              <a:t>CPL = $276.54 </a:t>
            </a:r>
            <a:br>
              <a:rPr lang="en-US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+21% vPY</a:t>
            </a:r>
          </a:p>
          <a:p>
            <a:pPr lvl="1"/>
            <a:endParaRPr lang="en-US" strike="sngStrike" noProof="0" dirty="0">
              <a:solidFill>
                <a:schemeClr val="bg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noProof="0" dirty="0">
                <a:solidFill>
                  <a:schemeClr val="bg1"/>
                </a:solidFill>
                <a:latin typeface="+mn-lt"/>
              </a:rPr>
              <a:t>Spend $112K  </a:t>
            </a:r>
            <a:br>
              <a:rPr lang="en-US" noProof="0" dirty="0">
                <a:solidFill>
                  <a:schemeClr val="bg1"/>
                </a:solidFill>
                <a:latin typeface="+mn-lt"/>
              </a:rPr>
            </a:br>
            <a:r>
              <a:rPr lang="en-US" sz="1600" noProof="0" dirty="0">
                <a:solidFill>
                  <a:schemeClr val="bg1"/>
                </a:solidFill>
                <a:latin typeface="+mn-lt"/>
              </a:rPr>
              <a:t>+5</a:t>
            </a:r>
            <a:r>
              <a:rPr lang="en-US" sz="1600" noProof="0" dirty="0">
                <a:solidFill>
                  <a:schemeClr val="bg1"/>
                </a:solidFill>
              </a:rPr>
              <a:t>% v</a:t>
            </a:r>
            <a:r>
              <a:rPr lang="en-US" sz="1600" noProof="0" dirty="0">
                <a:solidFill>
                  <a:schemeClr val="bg1"/>
                </a:solidFill>
                <a:latin typeface="+mn-lt"/>
              </a:rPr>
              <a:t>P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CF2DDEE-1D78-4EE3-AD75-53004C39332E}"/>
              </a:ext>
            </a:extLst>
          </p:cNvPr>
          <p:cNvSpPr txBox="1"/>
          <p:nvPr/>
        </p:nvSpPr>
        <p:spPr>
          <a:xfrm>
            <a:off x="478400" y="5058401"/>
            <a:ext cx="297297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noProof="0" dirty="0">
                <a:solidFill>
                  <a:schemeClr val="bg1"/>
                </a:solidFill>
              </a:rPr>
              <a:t>Higher impressions does not mean higher MQLs </a:t>
            </a:r>
            <a:br>
              <a:rPr lang="en-US" sz="1400" noProof="0" dirty="0">
                <a:solidFill>
                  <a:schemeClr val="bg1"/>
                </a:solidFill>
              </a:rPr>
            </a:br>
            <a:r>
              <a:rPr lang="en-US" sz="1400" noProof="0" dirty="0">
                <a:solidFill>
                  <a:schemeClr val="bg1"/>
                </a:solidFill>
              </a:rPr>
              <a:t>(also seen in 2023 and 2024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41EB49F-D902-BAB4-0BC2-3D221AE68AFF}"/>
              </a:ext>
            </a:extLst>
          </p:cNvPr>
          <p:cNvSpPr txBox="1"/>
          <p:nvPr/>
        </p:nvSpPr>
        <p:spPr>
          <a:xfrm>
            <a:off x="363967" y="6525744"/>
            <a:ext cx="4602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noProof="0" dirty="0">
                <a:solidFill>
                  <a:schemeClr val="tx2"/>
                </a:solidFill>
              </a:rPr>
              <a:t>Data and compares as of end September 2024/2025</a:t>
            </a:r>
          </a:p>
        </p:txBody>
      </p:sp>
    </p:spTree>
    <p:extLst>
      <p:ext uri="{BB962C8B-B14F-4D97-AF65-F5344CB8AC3E}">
        <p14:creationId xmlns:p14="http://schemas.microsoft.com/office/powerpoint/2010/main" val="2506466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92CB38-3D92-C483-ACFF-7C074B348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D5A6A21-862B-7557-3D60-D4FE9B8109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2588" y="564739"/>
            <a:ext cx="11338560" cy="402336"/>
          </a:xfrm>
        </p:spPr>
        <p:txBody>
          <a:bodyPr/>
          <a:lstStyle/>
          <a:p>
            <a:r>
              <a:rPr lang="en-US" noProof="0" dirty="0"/>
              <a:t>Document ads more efficient for lead generation. Cautious approach taken with Image ads. 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445BB81-D1CB-514F-6B5D-26962A93F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88" y="-222619"/>
            <a:ext cx="11338560" cy="768263"/>
          </a:xfrm>
        </p:spPr>
        <p:txBody>
          <a:bodyPr wrap="square" anchor="b" anchorCtr="0">
            <a:normAutofit fontScale="90000"/>
          </a:bodyPr>
          <a:lstStyle/>
          <a:p>
            <a:r>
              <a:rPr lang="en-US" b="1" kern="1200" noProof="0" dirty="0">
                <a:latin typeface="+mj-lt"/>
                <a:ea typeface="+mj-ea"/>
                <a:cs typeface="+mj-cs"/>
              </a:rPr>
              <a:t>Continued to optimize mix and budget across Document and Image ads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39C113A-CC40-1A34-87EC-0DBDE6DD528A}"/>
              </a:ext>
            </a:extLst>
          </p:cNvPr>
          <p:cNvGraphicFramePr/>
          <p:nvPr/>
        </p:nvGraphicFramePr>
        <p:xfrm>
          <a:off x="431824" y="1671374"/>
          <a:ext cx="5988794" cy="3989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196242E3-F58B-4A17-3FBB-53FA36D23D05}"/>
              </a:ext>
            </a:extLst>
          </p:cNvPr>
          <p:cNvGrpSpPr/>
          <p:nvPr/>
        </p:nvGrpSpPr>
        <p:grpSpPr>
          <a:xfrm>
            <a:off x="6091868" y="4250646"/>
            <a:ext cx="4827673" cy="2169306"/>
            <a:chOff x="400346" y="5120804"/>
            <a:chExt cx="3751183" cy="1909105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815A00A-DB15-1F20-158E-3FE20270D5B0}"/>
                </a:ext>
              </a:extLst>
            </p:cNvPr>
            <p:cNvSpPr txBox="1"/>
            <p:nvPr/>
          </p:nvSpPr>
          <p:spPr>
            <a:xfrm>
              <a:off x="400346" y="5147434"/>
              <a:ext cx="3557720" cy="18824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1"/>
              <a:r>
                <a:rPr lang="en-US" b="1" noProof="0" dirty="0">
                  <a:solidFill>
                    <a:schemeClr val="accent1"/>
                  </a:solidFill>
                  <a:latin typeface="+mn-lt"/>
                  <a:ea typeface="Calibri" panose="020F0502020204030204" pitchFamily="34" charset="0"/>
                </a:rPr>
                <a:t>Image Ads</a:t>
              </a:r>
            </a:p>
            <a:p>
              <a:pPr marL="800100" lvl="1" indent="-342900">
                <a:buFont typeface="Arial" panose="020B0604020202020204" pitchFamily="34" charset="0"/>
                <a:buChar char="•"/>
              </a:pPr>
              <a:r>
                <a:rPr lang="en-US" b="1" noProof="0" dirty="0">
                  <a:solidFill>
                    <a:schemeClr val="accent3"/>
                  </a:solidFill>
                  <a:latin typeface="+mn-lt"/>
                  <a:ea typeface="Calibri" panose="020F0502020204030204" pitchFamily="34" charset="0"/>
                </a:rPr>
                <a:t>20</a:t>
              </a:r>
              <a:r>
                <a:rPr lang="en-US" sz="1600" b="1" noProof="0" dirty="0">
                  <a:latin typeface="+mn-lt"/>
                  <a:ea typeface="Calibri" panose="020F0502020204030204" pitchFamily="34" charset="0"/>
                </a:rPr>
                <a:t> </a:t>
              </a:r>
              <a:r>
                <a:rPr lang="en-US" sz="1600" b="0" noProof="0" dirty="0">
                  <a:latin typeface="+mn-lt"/>
                  <a:ea typeface="Calibri" panose="020F0502020204030204" pitchFamily="34" charset="0"/>
                </a:rPr>
                <a:t>MQLs</a:t>
              </a:r>
            </a:p>
            <a:p>
              <a:pPr marL="800100" lvl="1" indent="-342900">
                <a:buFont typeface="Arial" panose="020B0604020202020204" pitchFamily="34" charset="0"/>
                <a:buChar char="•"/>
              </a:pPr>
              <a:r>
                <a:rPr lang="en-US" sz="1600" b="1" noProof="0" dirty="0"/>
                <a:t>CTR .53% </a:t>
              </a:r>
              <a:r>
                <a:rPr lang="en-US" sz="1400" noProof="0" dirty="0">
                  <a:solidFill>
                    <a:schemeClr val="accent2"/>
                  </a:solidFill>
                </a:rPr>
                <a:t>(down .13pp)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noProof="0" dirty="0"/>
                <a:t>Spend $37.6K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noProof="0" dirty="0"/>
                <a:t>CPL = </a:t>
              </a:r>
              <a:r>
                <a:rPr lang="en-US" sz="1600" b="1" noProof="0" dirty="0"/>
                <a:t>$1878 </a:t>
              </a:r>
              <a:r>
                <a:rPr lang="en-US" sz="1400" noProof="0" dirty="0">
                  <a:solidFill>
                    <a:schemeClr val="accent2"/>
                  </a:solidFill>
                </a:rPr>
                <a:t>(+$1200)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400" noProof="0" dirty="0"/>
                <a:t>Tested 14 Ads </a:t>
              </a:r>
              <a:br>
                <a:rPr lang="en-US" sz="1400" noProof="0" dirty="0"/>
              </a:br>
              <a:r>
                <a:rPr lang="en-US" sz="1400" noProof="0" dirty="0"/>
                <a:t>+ additional personas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endParaRPr lang="en-US" sz="1700" b="0" noProof="0" dirty="0">
                <a:solidFill>
                  <a:schemeClr val="accent4"/>
                </a:solidFill>
                <a:latin typeface="+mn-lt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FDD0BC1-AF9D-AC20-5191-281A04C03310}"/>
                </a:ext>
              </a:extLst>
            </p:cNvPr>
            <p:cNvSpPr/>
            <p:nvPr/>
          </p:nvSpPr>
          <p:spPr>
            <a:xfrm>
              <a:off x="714746" y="5120804"/>
              <a:ext cx="3436783" cy="1625184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700" noProof="0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5D2FFC3-9690-C513-0A1A-88E96264BC3A}"/>
              </a:ext>
            </a:extLst>
          </p:cNvPr>
          <p:cNvGrpSpPr/>
          <p:nvPr/>
        </p:nvGrpSpPr>
        <p:grpSpPr>
          <a:xfrm>
            <a:off x="6238466" y="1736304"/>
            <a:ext cx="5138746" cy="1692500"/>
            <a:chOff x="5349082" y="5090831"/>
            <a:chExt cx="3404790" cy="1451094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DBB0376-7D1F-3FB8-848B-AA2A8100A51F}"/>
                </a:ext>
              </a:extLst>
            </p:cNvPr>
            <p:cNvSpPr txBox="1"/>
            <p:nvPr/>
          </p:nvSpPr>
          <p:spPr>
            <a:xfrm>
              <a:off x="5349082" y="5130180"/>
              <a:ext cx="3404790" cy="141174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sz="1400">
                  <a:solidFill>
                    <a:srgbClr val="00A3E0"/>
                  </a:solidFill>
                </a:defRPr>
              </a:lvl1pPr>
            </a:lstStyle>
            <a:p>
              <a:pPr lvl="1"/>
              <a:r>
                <a:rPr lang="en-US" b="1" noProof="0" dirty="0">
                  <a:solidFill>
                    <a:schemeClr val="accent1"/>
                  </a:solidFill>
                </a:rPr>
                <a:t>Document Ads</a:t>
              </a:r>
            </a:p>
            <a:p>
              <a:pPr marL="800100" lvl="1" indent="-342900">
                <a:buFont typeface="Arial" panose="020B0604020202020204" pitchFamily="34" charset="0"/>
                <a:buChar char="•"/>
              </a:pPr>
              <a:r>
                <a:rPr lang="en-US" b="1" noProof="0" dirty="0">
                  <a:solidFill>
                    <a:schemeClr val="accent3"/>
                  </a:solidFill>
                </a:rPr>
                <a:t>385</a:t>
              </a:r>
              <a:r>
                <a:rPr lang="en-US" sz="1600" noProof="0" dirty="0"/>
                <a:t> MQLs</a:t>
              </a:r>
            </a:p>
            <a:p>
              <a:pPr marL="800100" lvl="1" indent="-342900">
                <a:buFont typeface="Arial" panose="020B0604020202020204" pitchFamily="34" charset="0"/>
                <a:buChar char="•"/>
              </a:pPr>
              <a:r>
                <a:rPr lang="en-US" sz="1600" b="1" noProof="0" dirty="0"/>
                <a:t>CTR .55% </a:t>
              </a:r>
              <a:r>
                <a:rPr lang="en-US" sz="1400" noProof="0" dirty="0">
                  <a:solidFill>
                    <a:schemeClr val="accent2"/>
                  </a:solidFill>
                </a:rPr>
                <a:t>(down .22pp)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noProof="0" dirty="0"/>
                <a:t>Spend $74.8K 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noProof="0" dirty="0"/>
                <a:t>CPL = </a:t>
              </a:r>
              <a:r>
                <a:rPr lang="en-US" sz="1600" b="1" noProof="0" dirty="0"/>
                <a:t>$194 </a:t>
              </a:r>
              <a:r>
                <a:rPr lang="en-US" sz="1400" noProof="0" dirty="0">
                  <a:solidFill>
                    <a:schemeClr val="accent2"/>
                  </a:solidFill>
                </a:rPr>
                <a:t>(+$100)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endParaRPr lang="en-US" sz="1700" noProof="0" dirty="0">
                <a:solidFill>
                  <a:schemeClr val="accent4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8A34148-86A7-5FF1-348F-D5FC481B3EEC}"/>
                </a:ext>
              </a:extLst>
            </p:cNvPr>
            <p:cNvSpPr/>
            <p:nvPr/>
          </p:nvSpPr>
          <p:spPr>
            <a:xfrm>
              <a:off x="5520044" y="5090831"/>
              <a:ext cx="3233828" cy="1290043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700" noProof="0" dirty="0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8C7653C7-C22D-AA9E-ED8A-316FEF357FE4}"/>
              </a:ext>
            </a:extLst>
          </p:cNvPr>
          <p:cNvSpPr txBox="1"/>
          <p:nvPr/>
        </p:nvSpPr>
        <p:spPr>
          <a:xfrm>
            <a:off x="1569507" y="2206103"/>
            <a:ext cx="11564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noProof="0" dirty="0">
                <a:solidFill>
                  <a:schemeClr val="accent1"/>
                </a:solidFill>
              </a:rPr>
              <a:t>385</a:t>
            </a:r>
            <a:r>
              <a:rPr lang="en-US" sz="1400" b="1" noProof="0" dirty="0">
                <a:solidFill>
                  <a:schemeClr val="accent1"/>
                </a:solidFill>
              </a:rPr>
              <a:t> </a:t>
            </a:r>
            <a:r>
              <a:rPr lang="en-US" sz="1100" noProof="0" dirty="0">
                <a:solidFill>
                  <a:schemeClr val="accent1"/>
                </a:solidFill>
              </a:rPr>
              <a:t>Total</a:t>
            </a:r>
            <a:endParaRPr lang="en-US" sz="1400" noProof="0" dirty="0">
              <a:solidFill>
                <a:schemeClr val="accent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82139B-E3B2-6AC0-BC42-F8DF40C94AFC}"/>
              </a:ext>
            </a:extLst>
          </p:cNvPr>
          <p:cNvSpPr txBox="1"/>
          <p:nvPr/>
        </p:nvSpPr>
        <p:spPr>
          <a:xfrm>
            <a:off x="4439342" y="4472704"/>
            <a:ext cx="11564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noProof="0" dirty="0">
                <a:solidFill>
                  <a:schemeClr val="accent1"/>
                </a:solidFill>
              </a:rPr>
              <a:t>20</a:t>
            </a:r>
            <a:r>
              <a:rPr lang="en-US" sz="1400" b="1" noProof="0" dirty="0">
                <a:solidFill>
                  <a:schemeClr val="accent1"/>
                </a:solidFill>
              </a:rPr>
              <a:t> </a:t>
            </a:r>
            <a:r>
              <a:rPr lang="en-US" sz="1100" noProof="0" dirty="0">
                <a:solidFill>
                  <a:schemeClr val="accent1"/>
                </a:solidFill>
              </a:rPr>
              <a:t>Total</a:t>
            </a:r>
            <a:endParaRPr lang="en-US" sz="1400" noProof="0" dirty="0">
              <a:solidFill>
                <a:schemeClr val="accent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F0F9C7A-D2C7-1C8C-8D8D-009433D19B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00020" y="1206852"/>
            <a:ext cx="1661940" cy="251947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9E085AE-EA62-A00B-9CA0-0F5F332528F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16024"/>
          <a:stretch>
            <a:fillRect/>
          </a:stretch>
        </p:blipFill>
        <p:spPr>
          <a:xfrm>
            <a:off x="9088642" y="4128953"/>
            <a:ext cx="2873318" cy="2107542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426759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A1AF3F-FE97-7336-A683-F272EE7935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6D46091-A289-870C-A93E-D94B63A9E4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D46091-A289-870C-A93E-D94B63A9E4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DE8183-0484-E1DC-B15F-CB9315857F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6567" y="489903"/>
            <a:ext cx="11338560" cy="402336"/>
          </a:xfrm>
        </p:spPr>
        <p:txBody>
          <a:bodyPr/>
          <a:lstStyle/>
          <a:p>
            <a:r>
              <a:rPr lang="en-US" noProof="0" dirty="0"/>
              <a:t>Continue to Test. Monitor. Adapt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26980A-091B-B340-A6CA-DCAE529E793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95545" y="-266063"/>
            <a:ext cx="11338560" cy="768263"/>
          </a:xfrm>
        </p:spPr>
        <p:txBody>
          <a:bodyPr vert="horz"/>
          <a:lstStyle/>
          <a:p>
            <a:r>
              <a:rPr lang="en-US" sz="2400" noProof="0" dirty="0"/>
              <a:t>Lessons Learned – </a:t>
            </a:r>
            <a:r>
              <a:rPr lang="en-US" sz="2400" noProof="0" dirty="0">
                <a:solidFill>
                  <a:schemeClr val="accent1"/>
                </a:solidFill>
              </a:rPr>
              <a:t>Observations</a:t>
            </a:r>
            <a:endParaRPr lang="en-US" sz="2600" noProof="0" dirty="0">
              <a:solidFill>
                <a:schemeClr val="accent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C90CAB5-6E62-B9D4-AF21-C2C1DA5A4B30}"/>
              </a:ext>
            </a:extLst>
          </p:cNvPr>
          <p:cNvSpPr>
            <a:spLocks/>
          </p:cNvSpPr>
          <p:nvPr/>
        </p:nvSpPr>
        <p:spPr bwMode="gray">
          <a:xfrm>
            <a:off x="473023" y="855404"/>
            <a:ext cx="5512851" cy="5906903"/>
          </a:xfrm>
          <a:prstGeom prst="roundRect">
            <a:avLst>
              <a:gd name="adj" fmla="val 661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noProof="0" dirty="0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CA07CC49-7947-EC50-4B6C-75E300A78A9E}"/>
              </a:ext>
            </a:extLst>
          </p:cNvPr>
          <p:cNvSpPr/>
          <p:nvPr/>
        </p:nvSpPr>
        <p:spPr bwMode="gray">
          <a:xfrm rot="16200000" flipH="1">
            <a:off x="3983437" y="-297480"/>
            <a:ext cx="640080" cy="3108960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 anchorCtr="0"/>
          <a:lstStyle/>
          <a:p>
            <a:pPr algn="ctr"/>
            <a:r>
              <a:rPr lang="en-US" b="1" noProof="0" dirty="0"/>
              <a:t>Observation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7543F8A-1165-9824-F25D-2DB5DE613570}"/>
              </a:ext>
            </a:extLst>
          </p:cNvPr>
          <p:cNvSpPr/>
          <p:nvPr/>
        </p:nvSpPr>
        <p:spPr bwMode="gray">
          <a:xfrm>
            <a:off x="357945" y="1803371"/>
            <a:ext cx="123330" cy="41992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noProof="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2762E3D-7B8D-BE93-4F3A-BB01E5916910}"/>
              </a:ext>
            </a:extLst>
          </p:cNvPr>
          <p:cNvSpPr txBox="1">
            <a:spLocks/>
          </p:cNvSpPr>
          <p:nvPr/>
        </p:nvSpPr>
        <p:spPr bwMode="gray">
          <a:xfrm>
            <a:off x="538989" y="1595249"/>
            <a:ext cx="5421411" cy="4478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fontAlgn="base">
              <a:spcAft>
                <a:spcPts val="600"/>
              </a:spcAft>
              <a:defRPr/>
            </a:pPr>
            <a:r>
              <a:rPr lang="en-US" sz="1400" i="1" noProof="0" dirty="0">
                <a:solidFill>
                  <a:schemeClr val="accent1"/>
                </a:solidFill>
              </a:rPr>
              <a:t>Continued Test. Monitor. Adapt. approach. </a:t>
            </a:r>
            <a:br>
              <a:rPr lang="en-US" sz="1400" i="1" noProof="0" dirty="0">
                <a:solidFill>
                  <a:schemeClr val="accent1"/>
                </a:solidFill>
              </a:rPr>
            </a:br>
            <a:r>
              <a:rPr lang="en-US" sz="1400" i="1" noProof="0" dirty="0">
                <a:solidFill>
                  <a:schemeClr val="accent1"/>
                </a:solidFill>
              </a:rPr>
              <a:t>Optimizing budget with ad format mix. </a:t>
            </a:r>
            <a:endParaRPr lang="en-US" sz="1400" b="1" noProof="0" dirty="0">
              <a:solidFill>
                <a:srgbClr val="C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noProof="0" dirty="0"/>
              <a:t>LinkedIn Advertising is costing more overal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noProof="0" dirty="0"/>
              <a:t>Steady drumbeat of document ads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noProof="0" dirty="0"/>
              <a:t>Cautious approach with Image Ad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noProof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noProof="0" dirty="0"/>
              <a:t>Image Ads </a:t>
            </a:r>
            <a:r>
              <a:rPr lang="en-US" sz="1400" noProof="0" dirty="0"/>
              <a:t>provide awareness bu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noProof="0" dirty="0"/>
              <a:t>Slow lead performance and higher cost per lead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b="1" noProof="0" dirty="0"/>
              <a:t>More competition </a:t>
            </a:r>
            <a:r>
              <a:rPr lang="en-US" sz="1400" noProof="0" dirty="0"/>
              <a:t>across LinkedIn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noProof="0" dirty="0"/>
              <a:t>LinkedIn </a:t>
            </a:r>
            <a:r>
              <a:rPr lang="en-US" sz="1400" b="1" noProof="0" dirty="0"/>
              <a:t>changing algorithms </a:t>
            </a:r>
            <a:r>
              <a:rPr lang="en-US" sz="1400" noProof="0" dirty="0"/>
              <a:t>on how ads are shown and do not share details on how campaigns are run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noProof="0" dirty="0"/>
              <a:t>Audience </a:t>
            </a:r>
            <a:r>
              <a:rPr lang="en-US" sz="1400" b="1" noProof="0" dirty="0"/>
              <a:t>Ad fatigue</a:t>
            </a:r>
            <a:br>
              <a:rPr lang="en-US" sz="1400" noProof="0" dirty="0"/>
            </a:br>
            <a:endParaRPr lang="en-US" sz="1400" noProof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noProof="0" dirty="0"/>
              <a:t>Document ads </a:t>
            </a:r>
            <a:r>
              <a:rPr lang="en-US" sz="1400" noProof="0" dirty="0"/>
              <a:t>work well, most efficient ad forma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noProof="0" dirty="0"/>
              <a:t>Contributed to 95% of MQ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noProof="0" dirty="0"/>
              <a:t>Also showing higher cost per lead, although still efficient </a:t>
            </a:r>
            <a:r>
              <a:rPr lang="en-US" sz="1400" b="1" noProof="0" dirty="0"/>
              <a:t>-20% on 2024 average CPL across RW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noProof="0" dirty="0"/>
              <a:t>Audience engaging - looking for information /Insights (downloads)</a:t>
            </a:r>
          </a:p>
        </p:txBody>
      </p:sp>
    </p:spTree>
    <p:extLst>
      <p:ext uri="{BB962C8B-B14F-4D97-AF65-F5344CB8AC3E}">
        <p14:creationId xmlns:p14="http://schemas.microsoft.com/office/powerpoint/2010/main" val="377022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DDCAC4-531F-76E9-FF73-670B3E05B9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7C87ED1-70B2-0C57-8BC2-12BC13CF35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C87ED1-70B2-0C57-8BC2-12BC13CF35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3C90B9-BEB9-7091-8210-1DE1EFA7A9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6567" y="489903"/>
            <a:ext cx="11338560" cy="402336"/>
          </a:xfrm>
        </p:spPr>
        <p:txBody>
          <a:bodyPr/>
          <a:lstStyle/>
          <a:p>
            <a:r>
              <a:rPr lang="en-US" noProof="0" dirty="0"/>
              <a:t>Continue to Test. Monitor. Adapt. in Q4 2025 to hit the ground running in 2026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8A0992-EF0A-58A6-751F-126A1FEAB69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95545" y="-266063"/>
            <a:ext cx="11338560" cy="768263"/>
          </a:xfrm>
        </p:spPr>
        <p:txBody>
          <a:bodyPr vert="horz"/>
          <a:lstStyle/>
          <a:p>
            <a:r>
              <a:rPr lang="en-US" sz="2400" noProof="0" dirty="0"/>
              <a:t>Lessons Learned – </a:t>
            </a:r>
            <a:r>
              <a:rPr lang="en-US" sz="2400" noProof="0" dirty="0">
                <a:solidFill>
                  <a:schemeClr val="accent1"/>
                </a:solidFill>
              </a:rPr>
              <a:t>Observations and Recommendations for Q4 2025 &amp; 2026</a:t>
            </a:r>
            <a:endParaRPr lang="en-US" sz="2600" noProof="0" dirty="0">
              <a:solidFill>
                <a:schemeClr val="accent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3F179B-AB9E-B44A-5910-488BDB8249A2}"/>
              </a:ext>
            </a:extLst>
          </p:cNvPr>
          <p:cNvSpPr>
            <a:spLocks/>
          </p:cNvSpPr>
          <p:nvPr/>
        </p:nvSpPr>
        <p:spPr bwMode="gray">
          <a:xfrm>
            <a:off x="473023" y="855404"/>
            <a:ext cx="5512851" cy="5906903"/>
          </a:xfrm>
          <a:prstGeom prst="roundRect">
            <a:avLst>
              <a:gd name="adj" fmla="val 661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noProof="0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99D0B54-E796-E18B-4269-49DB74242AE9}"/>
              </a:ext>
            </a:extLst>
          </p:cNvPr>
          <p:cNvSpPr>
            <a:spLocks/>
          </p:cNvSpPr>
          <p:nvPr/>
        </p:nvSpPr>
        <p:spPr bwMode="gray">
          <a:xfrm>
            <a:off x="6232582" y="855404"/>
            <a:ext cx="5512851" cy="5906903"/>
          </a:xfrm>
          <a:prstGeom prst="roundRect">
            <a:avLst>
              <a:gd name="adj" fmla="val 661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noProof="0" dirty="0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43296F6B-9AA9-A18D-7DF8-CAC4B435CD8B}"/>
              </a:ext>
            </a:extLst>
          </p:cNvPr>
          <p:cNvSpPr/>
          <p:nvPr/>
        </p:nvSpPr>
        <p:spPr bwMode="gray">
          <a:xfrm rot="16200000" flipH="1">
            <a:off x="3983437" y="-297480"/>
            <a:ext cx="640080" cy="3108960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 anchorCtr="0"/>
          <a:lstStyle/>
          <a:p>
            <a:pPr algn="ctr"/>
            <a:r>
              <a:rPr lang="en-US" b="1" noProof="0" dirty="0"/>
              <a:t>Observation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7E2234-1036-CC3D-30EC-BB722BCCF776}"/>
              </a:ext>
            </a:extLst>
          </p:cNvPr>
          <p:cNvSpPr/>
          <p:nvPr/>
        </p:nvSpPr>
        <p:spPr bwMode="gray">
          <a:xfrm>
            <a:off x="357945" y="1803371"/>
            <a:ext cx="123330" cy="41992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noProof="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C94228-A8D0-2D4E-1D7F-028B24E1D1A7}"/>
              </a:ext>
            </a:extLst>
          </p:cNvPr>
          <p:cNvSpPr/>
          <p:nvPr/>
        </p:nvSpPr>
        <p:spPr bwMode="gray">
          <a:xfrm>
            <a:off x="11713543" y="1860584"/>
            <a:ext cx="123330" cy="41992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noProof="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0645D60-CB59-5536-D7A7-3F97CE314902}"/>
              </a:ext>
            </a:extLst>
          </p:cNvPr>
          <p:cNvSpPr txBox="1">
            <a:spLocks/>
          </p:cNvSpPr>
          <p:nvPr/>
        </p:nvSpPr>
        <p:spPr bwMode="gray">
          <a:xfrm>
            <a:off x="538989" y="1595249"/>
            <a:ext cx="5421411" cy="4478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fontAlgn="base">
              <a:spcAft>
                <a:spcPts val="600"/>
              </a:spcAft>
              <a:defRPr/>
            </a:pPr>
            <a:r>
              <a:rPr lang="en-US" sz="1400" i="1" noProof="0" dirty="0">
                <a:solidFill>
                  <a:schemeClr val="accent1"/>
                </a:solidFill>
              </a:rPr>
              <a:t>Continued Test. Monitor. Adapt. approach. </a:t>
            </a:r>
            <a:br>
              <a:rPr lang="en-US" sz="1400" i="1" noProof="0" dirty="0">
                <a:solidFill>
                  <a:schemeClr val="accent1"/>
                </a:solidFill>
              </a:rPr>
            </a:br>
            <a:r>
              <a:rPr lang="en-US" sz="1400" i="1" noProof="0" dirty="0">
                <a:solidFill>
                  <a:schemeClr val="accent1"/>
                </a:solidFill>
              </a:rPr>
              <a:t>Optimizing budget with ad format mix. </a:t>
            </a:r>
            <a:endParaRPr lang="en-US" sz="1400" b="1" noProof="0" dirty="0">
              <a:solidFill>
                <a:srgbClr val="C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noProof="0" dirty="0"/>
              <a:t>LinkedIn Advertising is costing more overal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noProof="0" dirty="0"/>
              <a:t>Steady drumbeat of document ads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noProof="0" dirty="0"/>
              <a:t>Cautious approach with Image Ad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noProof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noProof="0" dirty="0"/>
              <a:t>Image Ads </a:t>
            </a:r>
            <a:r>
              <a:rPr lang="en-US" sz="1400" noProof="0" dirty="0"/>
              <a:t>provide awareness bu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noProof="0" dirty="0"/>
              <a:t>Slow lead performance and higher cost per lead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b="1" noProof="0" dirty="0"/>
              <a:t>More competition </a:t>
            </a:r>
            <a:r>
              <a:rPr lang="en-US" sz="1400" noProof="0" dirty="0"/>
              <a:t>across LinkedIn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noProof="0" dirty="0"/>
              <a:t>LinkedIn </a:t>
            </a:r>
            <a:r>
              <a:rPr lang="en-US" sz="1400" b="1" noProof="0" dirty="0"/>
              <a:t>changing algorithms </a:t>
            </a:r>
            <a:r>
              <a:rPr lang="en-US" sz="1400" noProof="0" dirty="0"/>
              <a:t>on how ads are shown and do not share details on how campaigns are run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noProof="0" dirty="0"/>
              <a:t>Audience </a:t>
            </a:r>
            <a:r>
              <a:rPr lang="en-US" sz="1400" b="1" noProof="0" dirty="0"/>
              <a:t>Ad fatigue</a:t>
            </a:r>
            <a:br>
              <a:rPr lang="en-US" sz="1400" noProof="0" dirty="0"/>
            </a:br>
            <a:endParaRPr lang="en-US" sz="1400" noProof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noProof="0" dirty="0"/>
              <a:t>Document ads </a:t>
            </a:r>
            <a:r>
              <a:rPr lang="en-US" sz="1400" noProof="0" dirty="0"/>
              <a:t>work well, most efficient ad forma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noProof="0" dirty="0"/>
              <a:t>Contributed to 95% of MQ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noProof="0" dirty="0"/>
              <a:t>Also showing higher cost per lead, although still efficient </a:t>
            </a:r>
            <a:r>
              <a:rPr lang="en-US" sz="1400" b="1" noProof="0" dirty="0"/>
              <a:t>-20% on 2024 average CPL across RW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noProof="0" dirty="0"/>
              <a:t>Audience engaging - looking for information /Insights (downloads)</a:t>
            </a:r>
          </a:p>
        </p:txBody>
      </p:sp>
      <p:sp>
        <p:nvSpPr>
          <p:cNvPr id="6144" name="TextBox 6143">
            <a:extLst>
              <a:ext uri="{FF2B5EF4-FFF2-40B4-BE49-F238E27FC236}">
                <a16:creationId xmlns:a16="http://schemas.microsoft.com/office/drawing/2014/main" id="{00D1C358-BC14-90F7-B530-2F6B8DF00D78}"/>
              </a:ext>
            </a:extLst>
          </p:cNvPr>
          <p:cNvSpPr txBox="1">
            <a:spLocks/>
          </p:cNvSpPr>
          <p:nvPr/>
        </p:nvSpPr>
        <p:spPr bwMode="gray">
          <a:xfrm>
            <a:off x="6206128" y="1570733"/>
            <a:ext cx="5744991" cy="5339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Aft>
                <a:spcPts val="600"/>
              </a:spcAft>
              <a:defRPr/>
            </a:pPr>
            <a:r>
              <a:rPr lang="en-US" sz="1400" b="1" noProof="0" dirty="0">
                <a:solidFill>
                  <a:schemeClr val="accent1"/>
                </a:solidFill>
              </a:rPr>
              <a:t>Q4 2025 </a:t>
            </a:r>
          </a:p>
          <a:p>
            <a:pPr marL="285750" indent="-28575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noProof="0" dirty="0"/>
              <a:t>Image Ads </a:t>
            </a:r>
            <a:r>
              <a:rPr lang="en-US" sz="1400" b="1" noProof="0" dirty="0">
                <a:solidFill>
                  <a:schemeClr val="accent1"/>
                </a:solidFill>
              </a:rPr>
              <a:t>– Test. Monitor. Adapt.</a:t>
            </a:r>
          </a:p>
          <a:p>
            <a:pPr marL="800100" lvl="1" indent="-342900" fontAlgn="base"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1300" noProof="0" dirty="0"/>
              <a:t>Keep IQVIA RWS top-of-mind for Core Solutions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300" b="1" noProof="0" dirty="0">
                <a:solidFill>
                  <a:schemeClr val="accent2"/>
                </a:solidFill>
              </a:rPr>
              <a:t>Test Awareness ads </a:t>
            </a:r>
            <a:r>
              <a:rPr lang="en-US" sz="1300" noProof="0" dirty="0"/>
              <a:t>in Q4 2025 </a:t>
            </a:r>
          </a:p>
          <a:p>
            <a:pPr marL="800100" lvl="1" indent="-342900" fontAlgn="base"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1300" noProof="0" dirty="0"/>
              <a:t>Wave 2 Image Ads – Awareness / Lead</a:t>
            </a:r>
          </a:p>
          <a:p>
            <a:pPr marL="1257300" lvl="2" indent="-34290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300" noProof="0" dirty="0"/>
              <a:t>Introduce new messaging – AI Assisted SLR Medical Affairs (breadth of solns, Med comms, EE,…) </a:t>
            </a:r>
            <a:br>
              <a:rPr lang="en-US" sz="1300" noProof="0" dirty="0"/>
            </a:br>
            <a:r>
              <a:rPr lang="en-US" sz="1300" noProof="0" dirty="0"/>
              <a:t>to counteract ad fatigue (Nov/Dec 2025 Launch)</a:t>
            </a:r>
          </a:p>
          <a:p>
            <a:pPr marL="342900" indent="-34290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noProof="0" dirty="0"/>
              <a:t>Document ads </a:t>
            </a:r>
            <a:r>
              <a:rPr lang="en-US" sz="1400" noProof="0" dirty="0"/>
              <a:t>– new ads early Nov</a:t>
            </a:r>
            <a:br>
              <a:rPr lang="en-US" sz="1400" noProof="0" dirty="0"/>
            </a:br>
            <a:endParaRPr lang="en-US" sz="1400" noProof="0" dirty="0"/>
          </a:p>
          <a:p>
            <a:pPr fontAlgn="base">
              <a:spcAft>
                <a:spcPts val="600"/>
              </a:spcAft>
              <a:defRPr/>
            </a:pPr>
            <a:r>
              <a:rPr lang="en-US" sz="1400" b="1" noProof="0" dirty="0">
                <a:solidFill>
                  <a:schemeClr val="accent1"/>
                </a:solidFill>
              </a:rPr>
              <a:t>2026 </a:t>
            </a:r>
            <a:r>
              <a:rPr lang="en-US" sz="1300" noProof="0" dirty="0"/>
              <a:t>Define objectives, optimize campaign planning, ad format mix and  budget early</a:t>
            </a:r>
          </a:p>
          <a:p>
            <a:pPr marL="800100" lvl="1" indent="-342900" fontAlgn="base"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1300" noProof="0" dirty="0"/>
              <a:t>Re-tweak LinkedIn Ad </a:t>
            </a:r>
            <a:r>
              <a:rPr lang="en-US" sz="1300" b="1" noProof="0" dirty="0"/>
              <a:t>audience </a:t>
            </a:r>
            <a:r>
              <a:rPr lang="en-US" sz="1300" noProof="0" dirty="0"/>
              <a:t>+ investigate CPL </a:t>
            </a:r>
            <a:br>
              <a:rPr lang="en-US" sz="1300" noProof="0" dirty="0"/>
            </a:br>
            <a:r>
              <a:rPr lang="en-US" sz="1300" noProof="0" dirty="0"/>
              <a:t>by persona group</a:t>
            </a:r>
          </a:p>
          <a:p>
            <a:pPr marL="800100" lvl="1" indent="-342900" fontAlgn="base"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1300" noProof="0" dirty="0">
                <a:cs typeface="Arial" panose="020B0604020202020204" pitchFamily="34" charset="0"/>
              </a:rPr>
              <a:t>Investigate further the </a:t>
            </a:r>
            <a:r>
              <a:rPr lang="en-US" sz="1300" b="1" noProof="0" dirty="0">
                <a:cs typeface="Arial" panose="020B0604020202020204" pitchFamily="34" charset="0"/>
              </a:rPr>
              <a:t>quality of Advertising Net New Contacts </a:t>
            </a:r>
            <a:r>
              <a:rPr lang="en-US" sz="1300" noProof="0" dirty="0">
                <a:cs typeface="Arial" panose="020B0604020202020204" pitchFamily="34" charset="0"/>
              </a:rPr>
              <a:t>(NNCs) and </a:t>
            </a:r>
            <a:r>
              <a:rPr lang="en-US" sz="1300" b="1" noProof="0" dirty="0">
                <a:cs typeface="Arial" panose="020B0604020202020204" pitchFamily="34" charset="0"/>
              </a:rPr>
              <a:t>MQL and SQL follow-up.</a:t>
            </a:r>
          </a:p>
          <a:p>
            <a:pPr marL="800100" lvl="1" indent="-342900" fontAlgn="base"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1300" noProof="0" dirty="0"/>
              <a:t>Continue Document ads. Keep IQVIA RWS/Med Affairs top of mind with </a:t>
            </a:r>
            <a:r>
              <a:rPr lang="en-US" sz="1300" b="1" noProof="0" dirty="0"/>
              <a:t>Awareness Ads. </a:t>
            </a:r>
          </a:p>
          <a:p>
            <a:pPr marL="800100" lvl="1" indent="-342900" fontAlgn="base"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1300" noProof="0" dirty="0"/>
              <a:t>Test </a:t>
            </a:r>
            <a:r>
              <a:rPr lang="en-US" sz="1300" b="1" noProof="0" dirty="0"/>
              <a:t>new Image ads</a:t>
            </a:r>
            <a:r>
              <a:rPr lang="en-US" sz="1300" noProof="0" dirty="0"/>
              <a:t>, and new </a:t>
            </a:r>
            <a:r>
              <a:rPr lang="en-US" sz="1300" b="1" noProof="0" dirty="0"/>
              <a:t>Ad format </a:t>
            </a:r>
            <a:r>
              <a:rPr lang="en-US" sz="1300" noProof="0" dirty="0"/>
              <a:t>for Campaigns that need more specific targeting – Conversation Ads </a:t>
            </a:r>
            <a:br>
              <a:rPr lang="en-US" sz="1300" noProof="0" dirty="0"/>
            </a:br>
            <a:r>
              <a:rPr lang="en-US" sz="1300" noProof="0" dirty="0"/>
              <a:t>(Nurture approach)</a:t>
            </a:r>
          </a:p>
        </p:txBody>
      </p:sp>
      <p:grpSp>
        <p:nvGrpSpPr>
          <p:cNvPr id="6148" name="Group 6147">
            <a:extLst>
              <a:ext uri="{FF2B5EF4-FFF2-40B4-BE49-F238E27FC236}">
                <a16:creationId xmlns:a16="http://schemas.microsoft.com/office/drawing/2014/main" id="{4E77BB81-1606-DAF3-FD1A-1F2C433C18C8}"/>
              </a:ext>
            </a:extLst>
          </p:cNvPr>
          <p:cNvGrpSpPr/>
          <p:nvPr/>
        </p:nvGrpSpPr>
        <p:grpSpPr bwMode="gray">
          <a:xfrm>
            <a:off x="6327010" y="959643"/>
            <a:ext cx="3108960" cy="640080"/>
            <a:chOff x="6230249" y="2239074"/>
            <a:chExt cx="3108960" cy="640080"/>
          </a:xfrm>
        </p:grpSpPr>
        <p:sp>
          <p:nvSpPr>
            <p:cNvPr id="11" name="Rectangle: Top Corners Rounded 10">
              <a:extLst>
                <a:ext uri="{FF2B5EF4-FFF2-40B4-BE49-F238E27FC236}">
                  <a16:creationId xmlns:a16="http://schemas.microsoft.com/office/drawing/2014/main" id="{4D3EEC7E-2186-2081-1870-72878D8CDF4D}"/>
                </a:ext>
              </a:extLst>
            </p:cNvPr>
            <p:cNvSpPr/>
            <p:nvPr/>
          </p:nvSpPr>
          <p:spPr bwMode="gray">
            <a:xfrm rot="5400000">
              <a:off x="7464689" y="1004634"/>
              <a:ext cx="640080" cy="3108960"/>
            </a:xfrm>
            <a:prstGeom prst="round2Same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600" b="1" noProof="0" dirty="0"/>
            </a:p>
          </p:txBody>
        </p:sp>
        <p:sp>
          <p:nvSpPr>
            <p:cNvPr id="6147" name="TextBox 6146">
              <a:extLst>
                <a:ext uri="{FF2B5EF4-FFF2-40B4-BE49-F238E27FC236}">
                  <a16:creationId xmlns:a16="http://schemas.microsoft.com/office/drawing/2014/main" id="{4828A6F1-5D7C-CAAB-D1D8-D08B5533B609}"/>
                </a:ext>
              </a:extLst>
            </p:cNvPr>
            <p:cNvSpPr txBox="1"/>
            <p:nvPr/>
          </p:nvSpPr>
          <p:spPr bwMode="gray">
            <a:xfrm>
              <a:off x="6870062" y="2420614"/>
              <a:ext cx="2064668" cy="276999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b="1" noProof="0" dirty="0">
                  <a:solidFill>
                    <a:schemeClr val="bg1"/>
                  </a:solidFill>
                </a:rPr>
                <a:t>Recommend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7964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3FFB10-878E-0CD7-8E95-6DD7C8C369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lIns="91440" tIns="45720" rIns="91440" bIns="45720" anchor="t">
            <a:noAutofit/>
          </a:bodyPr>
          <a:lstStyle/>
          <a:p>
            <a:r>
              <a:rPr lang="en-US" dirty="0">
                <a:cs typeface="Arial"/>
              </a:rPr>
              <a:t>Sathya N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6C5644-711A-25EC-9948-82810157AC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 anchorCtr="0"/>
          <a:lstStyle/>
          <a:p>
            <a:r>
              <a:rPr lang="en-US" dirty="0"/>
              <a:t>Update on Smartsheet form replacing VIA for asset publishing request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A6FA3F35-2A98-A6F5-EC87-BFD79E96D5C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arketing Operations Open Office Hours November 5, 2025</a:t>
            </a:r>
          </a:p>
        </p:txBody>
      </p:sp>
    </p:spTree>
    <p:extLst>
      <p:ext uri="{BB962C8B-B14F-4D97-AF65-F5344CB8AC3E}">
        <p14:creationId xmlns:p14="http://schemas.microsoft.com/office/powerpoint/2010/main" val="3907401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3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Corporate PowerPoint Template" id="{FBF47825-BA15-42F8-B8DD-474EE679720A}" vid="{51500039-90C3-4EE0-82E8-5B46344F180D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41A8027A94C54E8B871968FAA6C492" ma:contentTypeVersion="21" ma:contentTypeDescription="Create a new document." ma:contentTypeScope="" ma:versionID="c6e2422847cf56db6536f06106ea62c3">
  <xsd:schema xmlns:xsd="http://www.w3.org/2001/XMLSchema" xmlns:xs="http://www.w3.org/2001/XMLSchema" xmlns:p="http://schemas.microsoft.com/office/2006/metadata/properties" xmlns:ns2="a3d99252-4236-4875-9705-b79300e2d557" xmlns:ns3="1c9b69b2-596d-4757-b9cd-cd8972304baa" targetNamespace="http://schemas.microsoft.com/office/2006/metadata/properties" ma:root="true" ma:fieldsID="0816ad1e87b92735e60d8d4b372463ee" ns2:_="" ns3:_="">
    <xsd:import namespace="a3d99252-4236-4875-9705-b79300e2d557"/>
    <xsd:import namespace="1c9b69b2-596d-4757-b9cd-cd8972304b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DocTags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About" minOccurs="0"/>
                <xsd:element ref="ns2:Owne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d99252-4236-4875-9705-b79300e2d5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68784c8-5187-4d12-af89-ac967a8112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DocTags" ma:index="20" nillable="true" ma:displayName="MediaServiceDocTags" ma:hidden="true" ma:internalName="MediaServiceDocTags" ma:readOnly="true">
      <xsd:simpleType>
        <xsd:restriction base="dms:Note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About" ma:index="24" nillable="true" ma:displayName="About" ma:format="Dropdown" ma:internalName="About">
      <xsd:simpleType>
        <xsd:restriction base="dms:Text">
          <xsd:maxLength value="255"/>
        </xsd:restriction>
      </xsd:simpleType>
    </xsd:element>
    <xsd:element name="Owner" ma:index="25" nillable="true" ma:displayName="Owner" ma:format="Dropdown" ma:internalName="Owner">
      <xsd:simpleType>
        <xsd:restriction base="dms:Text">
          <xsd:maxLength value="255"/>
        </xsd:restriction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9b69b2-596d-4757-b9cd-cd8972304ba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d67e752f-aa54-418c-a827-14a947def056}" ma:internalName="TaxCatchAll" ma:showField="CatchAllData" ma:web="1c9b69b2-596d-4757-b9cd-cd8972304b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 xmlns="a3d99252-4236-4875-9705-b79300e2d557" xsi:nil="true"/>
    <About xmlns="a3d99252-4236-4875-9705-b79300e2d557" xsi:nil="true"/>
    <lcf76f155ced4ddcb4097134ff3c332f xmlns="a3d99252-4236-4875-9705-b79300e2d557">
      <Terms xmlns="http://schemas.microsoft.com/office/infopath/2007/PartnerControls"/>
    </lcf76f155ced4ddcb4097134ff3c332f>
    <TaxCatchAll xmlns="1c9b69b2-596d-4757-b9cd-cd8972304baa" xsi:nil="true"/>
  </documentManagement>
</p:properties>
</file>

<file path=customXml/itemProps1.xml><?xml version="1.0" encoding="utf-8"?>
<ds:datastoreItem xmlns:ds="http://schemas.openxmlformats.org/officeDocument/2006/customXml" ds:itemID="{E0108802-FEB5-4781-8701-4E30B969DB3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d99252-4236-4875-9705-b79300e2d557"/>
    <ds:schemaRef ds:uri="1c9b69b2-596d-4757-b9cd-cd8972304ba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423C0CA-5009-47CB-A797-72E4DEC02D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2B204CA-FCBB-484A-9BB6-0F3E53A854A7}">
  <ds:schemaRefs>
    <ds:schemaRef ds:uri="a3d99252-4236-4875-9705-b79300e2d557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1c9b69b2-596d-4757-b9cd-cd8972304baa"/>
    <ds:schemaRef ds:uri="http://purl.org/dc/terms/"/>
    <ds:schemaRef ds:uri="http://www.w3.org/XML/1998/namespace"/>
    <ds:schemaRef ds:uri="http://schemas.microsoft.com/office/infopath/2007/PartnerControls"/>
    <ds:schemaRef ds:uri="http://purl.org/dc/elements/1.1/"/>
  </ds:schemaRefs>
</ds:datastoreItem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9</TotalTime>
  <Words>905</Words>
  <Application>Microsoft Office PowerPoint</Application>
  <PresentationFormat>Widescreen</PresentationFormat>
  <Paragraphs>133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ＭＳ Ｐゴシック</vt:lpstr>
      <vt:lpstr>Arial</vt:lpstr>
      <vt:lpstr>Arial Narrow</vt:lpstr>
      <vt:lpstr>Georgia</vt:lpstr>
      <vt:lpstr>System Font Regular</vt:lpstr>
      <vt:lpstr>Wingdings</vt:lpstr>
      <vt:lpstr>IQVIA_V3.0.0</vt:lpstr>
      <vt:lpstr>think-cell Slide</vt:lpstr>
      <vt:lpstr>Welcome to Marketing Operations Open Office Hours – November Session</vt:lpstr>
      <vt:lpstr>Agenda</vt:lpstr>
      <vt:lpstr>Lesson learned from LinkedIn Advertising campaigns for RWS in 2025</vt:lpstr>
      <vt:lpstr>On the call today </vt:lpstr>
      <vt:lpstr>2025 Advertising Lessons learned – Data as of end September</vt:lpstr>
      <vt:lpstr>Continued to optimize mix and budget across Document and Image ads</vt:lpstr>
      <vt:lpstr>Lessons Learned – Observations</vt:lpstr>
      <vt:lpstr>Lessons Learned – Observations and Recommendations for Q4 2025 &amp; 2026</vt:lpstr>
      <vt:lpstr>Update on Smartsheet form replacing VIA for asset publishing requests</vt:lpstr>
      <vt:lpstr>From VIA to Smartsheet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nefits of LinkedIn message ads and click-to-message ads</dc:title>
  <dc:creator>Kamboj, Sandeep</dc:creator>
  <cp:lastModifiedBy>Cuff, Phil</cp:lastModifiedBy>
  <cp:revision>9</cp:revision>
  <cp:lastPrinted>2019-08-20T20:33:24Z</cp:lastPrinted>
  <dcterms:created xsi:type="dcterms:W3CDTF">2025-04-01T04:30:23Z</dcterms:created>
  <dcterms:modified xsi:type="dcterms:W3CDTF">2025-11-11T09:3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41A8027A94C54E8B871968FAA6C492</vt:lpwstr>
  </property>
  <property fmtid="{D5CDD505-2E9C-101B-9397-08002B2CF9AE}" pid="3" name="MediaServiceImageTags">
    <vt:lpwstr/>
  </property>
</Properties>
</file>